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0" r:id="rId2"/>
    <p:sldMasterId id="2147483686" r:id="rId3"/>
  </p:sldMasterIdLst>
  <p:notesMasterIdLst>
    <p:notesMasterId r:id="rId23"/>
  </p:notesMasterIdLst>
  <p:handoutMasterIdLst>
    <p:handoutMasterId r:id="rId24"/>
  </p:handoutMasterIdLst>
  <p:sldIdLst>
    <p:sldId id="258" r:id="rId4"/>
    <p:sldId id="263" r:id="rId5"/>
    <p:sldId id="296" r:id="rId6"/>
    <p:sldId id="297" r:id="rId7"/>
    <p:sldId id="298" r:id="rId8"/>
    <p:sldId id="295" r:id="rId9"/>
    <p:sldId id="268" r:id="rId10"/>
    <p:sldId id="269" r:id="rId11"/>
    <p:sldId id="266" r:id="rId12"/>
    <p:sldId id="267" r:id="rId13"/>
    <p:sldId id="265" r:id="rId14"/>
    <p:sldId id="270" r:id="rId15"/>
    <p:sldId id="272" r:id="rId16"/>
    <p:sldId id="273" r:id="rId17"/>
    <p:sldId id="282" r:id="rId18"/>
    <p:sldId id="286" r:id="rId19"/>
    <p:sldId id="281" r:id="rId20"/>
    <p:sldId id="271" r:id="rId21"/>
    <p:sldId id="287" r:id="rId22"/>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24">
          <p15:clr>
            <a:srgbClr val="A4A3A4"/>
          </p15:clr>
        </p15:guide>
        <p15:guide id="2" pos="2933">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AD8122"/>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472" autoAdjust="0"/>
    <p:restoredTop sz="94660"/>
  </p:normalViewPr>
  <p:slideViewPr>
    <p:cSldViewPr snapToGrid="0" snapToObjects="1" showGuides="1">
      <p:cViewPr varScale="1">
        <p:scale>
          <a:sx n="84" d="100"/>
          <a:sy n="84" d="100"/>
        </p:scale>
        <p:origin x="1320" y="90"/>
      </p:cViewPr>
      <p:guideLst>
        <p:guide orient="horz" pos="2124"/>
        <p:guide pos="2933"/>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D511EB3-CFF1-E140-80AB-FBBE9C6F96F6}" type="doc">
      <dgm:prSet loTypeId="urn:microsoft.com/office/officeart/2005/8/layout/lProcess3" loCatId="" qsTypeId="urn:microsoft.com/office/officeart/2005/8/quickstyle/simple4" qsCatId="simple" csTypeId="urn:microsoft.com/office/officeart/2005/8/colors/accent1_2" csCatId="accent1" phldr="1"/>
      <dgm:spPr/>
      <dgm:t>
        <a:bodyPr/>
        <a:lstStyle/>
        <a:p>
          <a:endParaRPr lang="en-US"/>
        </a:p>
      </dgm:t>
    </dgm:pt>
    <dgm:pt modelId="{5E896CCB-6C5B-0740-BFC4-77F280FC8378}">
      <dgm:prSet phldrT="[Text]"/>
      <dgm:spPr>
        <a:solidFill>
          <a:schemeClr val="accent3">
            <a:lumMod val="50000"/>
          </a:schemeClr>
        </a:solidFill>
      </dgm:spPr>
      <dgm:t>
        <a:bodyPr/>
        <a:lstStyle/>
        <a:p>
          <a:r>
            <a:rPr lang="en-US" dirty="0" smtClean="0">
              <a:solidFill>
                <a:srgbClr val="FFFFFF"/>
              </a:solidFill>
            </a:rPr>
            <a:t>GeneLab Phase 1</a:t>
          </a:r>
        </a:p>
        <a:p>
          <a:r>
            <a:rPr lang="en-US" dirty="0" smtClean="0">
              <a:solidFill>
                <a:srgbClr val="FFFFFF"/>
              </a:solidFill>
            </a:rPr>
            <a:t>FY2014-2015</a:t>
          </a:r>
          <a:endParaRPr lang="en-US" dirty="0">
            <a:solidFill>
              <a:srgbClr val="FFFFFF"/>
            </a:solidFill>
          </a:endParaRPr>
        </a:p>
      </dgm:t>
    </dgm:pt>
    <dgm:pt modelId="{CB4CEE76-CCA9-714D-8E35-D61209A5C5E1}" type="parTrans" cxnId="{12BC990E-A390-9A47-B7B4-685216660573}">
      <dgm:prSet/>
      <dgm:spPr/>
      <dgm:t>
        <a:bodyPr/>
        <a:lstStyle/>
        <a:p>
          <a:endParaRPr lang="en-US">
            <a:solidFill>
              <a:schemeClr val="tx1"/>
            </a:solidFill>
          </a:endParaRPr>
        </a:p>
      </dgm:t>
    </dgm:pt>
    <dgm:pt modelId="{29044E54-EC68-534C-B3D8-1DF9682CF3A5}" type="sibTrans" cxnId="{12BC990E-A390-9A47-B7B4-685216660573}">
      <dgm:prSet/>
      <dgm:spPr/>
      <dgm:t>
        <a:bodyPr/>
        <a:lstStyle/>
        <a:p>
          <a:endParaRPr lang="en-US">
            <a:solidFill>
              <a:schemeClr val="tx1"/>
            </a:solidFill>
          </a:endParaRPr>
        </a:p>
      </dgm:t>
    </dgm:pt>
    <dgm:pt modelId="{180C0CD0-B245-E844-96A0-1BF36D5B8158}">
      <dgm:prSet phldrT="[Text]"/>
      <dgm:spPr>
        <a:solidFill>
          <a:schemeClr val="accent3">
            <a:lumMod val="60000"/>
            <a:lumOff val="40000"/>
            <a:alpha val="90000"/>
          </a:schemeClr>
        </a:solidFill>
      </dgm:spPr>
      <dgm:t>
        <a:bodyPr/>
        <a:lstStyle/>
        <a:p>
          <a:r>
            <a:rPr lang="en-US" dirty="0" smtClean="0">
              <a:solidFill>
                <a:schemeClr val="tx1"/>
              </a:solidFill>
            </a:rPr>
            <a:t>GeneLab </a:t>
          </a:r>
        </a:p>
        <a:p>
          <a:r>
            <a:rPr lang="en-US" dirty="0" smtClean="0">
              <a:solidFill>
                <a:schemeClr val="tx1"/>
              </a:solidFill>
            </a:rPr>
            <a:t>Phase 2</a:t>
          </a:r>
        </a:p>
        <a:p>
          <a:r>
            <a:rPr lang="en-US" dirty="0" smtClean="0">
              <a:solidFill>
                <a:schemeClr val="tx1"/>
              </a:solidFill>
            </a:rPr>
            <a:t>CY 2016</a:t>
          </a:r>
          <a:endParaRPr lang="en-US" dirty="0">
            <a:solidFill>
              <a:schemeClr val="tx1"/>
            </a:solidFill>
          </a:endParaRPr>
        </a:p>
      </dgm:t>
    </dgm:pt>
    <dgm:pt modelId="{EB7580AF-CC55-AA4E-8C64-8C5679A18BA4}" type="parTrans" cxnId="{3FA29ABD-85DE-104C-AE3A-04FF005E4065}">
      <dgm:prSet/>
      <dgm:spPr/>
      <dgm:t>
        <a:bodyPr/>
        <a:lstStyle/>
        <a:p>
          <a:endParaRPr lang="en-US">
            <a:solidFill>
              <a:schemeClr val="tx1"/>
            </a:solidFill>
          </a:endParaRPr>
        </a:p>
      </dgm:t>
    </dgm:pt>
    <dgm:pt modelId="{616DB9A2-ED55-3E4E-90D8-7F16344188D5}" type="sibTrans" cxnId="{3FA29ABD-85DE-104C-AE3A-04FF005E4065}">
      <dgm:prSet/>
      <dgm:spPr/>
      <dgm:t>
        <a:bodyPr/>
        <a:lstStyle/>
        <a:p>
          <a:endParaRPr lang="en-US">
            <a:solidFill>
              <a:schemeClr val="tx1"/>
            </a:solidFill>
          </a:endParaRPr>
        </a:p>
      </dgm:t>
    </dgm:pt>
    <dgm:pt modelId="{ADE3E679-06CC-AA4B-BB6F-5773B9E6BE48}">
      <dgm:prSet phldrT="[Text]"/>
      <dgm:spPr>
        <a:solidFill>
          <a:schemeClr val="accent3">
            <a:lumMod val="60000"/>
            <a:lumOff val="40000"/>
            <a:alpha val="90000"/>
          </a:schemeClr>
        </a:solidFill>
      </dgm:spPr>
      <dgm:t>
        <a:bodyPr/>
        <a:lstStyle/>
        <a:p>
          <a:r>
            <a:rPr lang="en-US" dirty="0" smtClean="0">
              <a:solidFill>
                <a:schemeClr val="tx1"/>
              </a:solidFill>
            </a:rPr>
            <a:t>GeneLab </a:t>
          </a:r>
        </a:p>
        <a:p>
          <a:r>
            <a:rPr lang="en-US" dirty="0" smtClean="0">
              <a:solidFill>
                <a:schemeClr val="tx1"/>
              </a:solidFill>
            </a:rPr>
            <a:t>Phase 3</a:t>
          </a:r>
        </a:p>
        <a:p>
          <a:r>
            <a:rPr lang="en-US" dirty="0" smtClean="0">
              <a:solidFill>
                <a:schemeClr val="tx1"/>
              </a:solidFill>
            </a:rPr>
            <a:t>CY 2017</a:t>
          </a:r>
          <a:endParaRPr lang="en-US" dirty="0">
            <a:solidFill>
              <a:schemeClr val="tx1"/>
            </a:solidFill>
          </a:endParaRPr>
        </a:p>
      </dgm:t>
    </dgm:pt>
    <dgm:pt modelId="{49142766-2FA2-8141-96C7-8BD05B2E9BF0}" type="parTrans" cxnId="{CD950E7D-1595-4D49-8C8B-310D1440D775}">
      <dgm:prSet/>
      <dgm:spPr/>
      <dgm:t>
        <a:bodyPr/>
        <a:lstStyle/>
        <a:p>
          <a:endParaRPr lang="en-US">
            <a:solidFill>
              <a:schemeClr val="tx1"/>
            </a:solidFill>
          </a:endParaRPr>
        </a:p>
      </dgm:t>
    </dgm:pt>
    <dgm:pt modelId="{3DF93A5B-9514-6340-BDAB-7113398B5B69}" type="sibTrans" cxnId="{CD950E7D-1595-4D49-8C8B-310D1440D775}">
      <dgm:prSet/>
      <dgm:spPr/>
      <dgm:t>
        <a:bodyPr/>
        <a:lstStyle/>
        <a:p>
          <a:endParaRPr lang="en-US">
            <a:solidFill>
              <a:schemeClr val="tx1"/>
            </a:solidFill>
          </a:endParaRPr>
        </a:p>
      </dgm:t>
    </dgm:pt>
    <dgm:pt modelId="{404441A0-1951-2547-8BAB-3D03CEA4C362}">
      <dgm:prSet phldrT="[Text]"/>
      <dgm:spPr>
        <a:solidFill>
          <a:schemeClr val="accent5">
            <a:lumMod val="50000"/>
          </a:schemeClr>
        </a:solidFill>
      </dgm:spPr>
      <dgm:t>
        <a:bodyPr/>
        <a:lstStyle/>
        <a:p>
          <a:r>
            <a:rPr lang="en-US" dirty="0" smtClean="0">
              <a:solidFill>
                <a:srgbClr val="FFFFFF"/>
              </a:solidFill>
            </a:rPr>
            <a:t>C-Gene (AKA C3)</a:t>
          </a:r>
        </a:p>
        <a:p>
          <a:r>
            <a:rPr lang="en-US" dirty="0" smtClean="0">
              <a:solidFill>
                <a:srgbClr val="FFFFFF"/>
              </a:solidFill>
            </a:rPr>
            <a:t>Long Term Curated </a:t>
          </a:r>
          <a:r>
            <a:rPr lang="en-US" dirty="0" err="1" smtClean="0">
              <a:solidFill>
                <a:srgbClr val="FFFFFF"/>
              </a:solidFill>
            </a:rPr>
            <a:t>Omics</a:t>
          </a:r>
          <a:r>
            <a:rPr lang="en-US" dirty="0" smtClean="0">
              <a:solidFill>
                <a:srgbClr val="FFFFFF"/>
              </a:solidFill>
            </a:rPr>
            <a:t> Data</a:t>
          </a:r>
        </a:p>
      </dgm:t>
    </dgm:pt>
    <dgm:pt modelId="{476AB3A3-E047-AD4C-BAF1-9D73491AA742}" type="parTrans" cxnId="{39E8C2C2-9FF7-6541-8C7A-67B8353A3768}">
      <dgm:prSet/>
      <dgm:spPr/>
      <dgm:t>
        <a:bodyPr/>
        <a:lstStyle/>
        <a:p>
          <a:endParaRPr lang="en-US">
            <a:solidFill>
              <a:schemeClr val="tx1"/>
            </a:solidFill>
          </a:endParaRPr>
        </a:p>
      </dgm:t>
    </dgm:pt>
    <dgm:pt modelId="{CA354444-9EFE-8F45-9AB7-E8E272B62706}" type="sibTrans" cxnId="{39E8C2C2-9FF7-6541-8C7A-67B8353A3768}">
      <dgm:prSet/>
      <dgm:spPr/>
      <dgm:t>
        <a:bodyPr/>
        <a:lstStyle/>
        <a:p>
          <a:endParaRPr lang="en-US">
            <a:solidFill>
              <a:schemeClr val="tx1"/>
            </a:solidFill>
          </a:endParaRPr>
        </a:p>
      </dgm:t>
    </dgm:pt>
    <dgm:pt modelId="{356FD089-9E3C-8F4A-903F-35E5072EDA7F}">
      <dgm:prSet phldrT="[Text]"/>
      <dgm:spPr>
        <a:solidFill>
          <a:schemeClr val="accent5">
            <a:lumMod val="60000"/>
            <a:lumOff val="40000"/>
            <a:alpha val="90000"/>
          </a:schemeClr>
        </a:solidFill>
      </dgm:spPr>
      <dgm:t>
        <a:bodyPr/>
        <a:lstStyle/>
        <a:p>
          <a:r>
            <a:rPr lang="en-US" dirty="0" smtClean="0">
              <a:solidFill>
                <a:schemeClr val="tx1"/>
              </a:solidFill>
            </a:rPr>
            <a:t>Improve Search</a:t>
          </a:r>
          <a:endParaRPr lang="en-US" dirty="0">
            <a:solidFill>
              <a:schemeClr val="tx1"/>
            </a:solidFill>
          </a:endParaRPr>
        </a:p>
      </dgm:t>
    </dgm:pt>
    <dgm:pt modelId="{B45E1C76-F2DE-5C4A-B7DC-FD90AACE113A}" type="parTrans" cxnId="{AFFA69A5-77F8-544B-B95C-6891A6C90520}">
      <dgm:prSet/>
      <dgm:spPr/>
      <dgm:t>
        <a:bodyPr/>
        <a:lstStyle/>
        <a:p>
          <a:endParaRPr lang="en-US">
            <a:solidFill>
              <a:schemeClr val="tx1"/>
            </a:solidFill>
          </a:endParaRPr>
        </a:p>
      </dgm:t>
    </dgm:pt>
    <dgm:pt modelId="{C24837F0-AB71-2040-9D1B-F827AF894CCB}" type="sibTrans" cxnId="{AFFA69A5-77F8-544B-B95C-6891A6C90520}">
      <dgm:prSet/>
      <dgm:spPr/>
      <dgm:t>
        <a:bodyPr/>
        <a:lstStyle/>
        <a:p>
          <a:endParaRPr lang="en-US">
            <a:solidFill>
              <a:schemeClr val="tx1"/>
            </a:solidFill>
          </a:endParaRPr>
        </a:p>
      </dgm:t>
    </dgm:pt>
    <dgm:pt modelId="{7494374C-4A7D-6A4F-8B77-C6CF32BA68B4}">
      <dgm:prSet phldrT="[Text]"/>
      <dgm:spPr>
        <a:solidFill>
          <a:schemeClr val="accent5">
            <a:lumMod val="60000"/>
            <a:lumOff val="40000"/>
            <a:alpha val="90000"/>
          </a:schemeClr>
        </a:solidFill>
      </dgm:spPr>
      <dgm:t>
        <a:bodyPr/>
        <a:lstStyle/>
        <a:p>
          <a:r>
            <a:rPr lang="en-US" dirty="0" smtClean="0">
              <a:solidFill>
                <a:schemeClr val="tx1"/>
              </a:solidFill>
            </a:rPr>
            <a:t>Support and Maintain</a:t>
          </a:r>
          <a:endParaRPr lang="en-US" dirty="0">
            <a:solidFill>
              <a:schemeClr val="tx1"/>
            </a:solidFill>
          </a:endParaRPr>
        </a:p>
      </dgm:t>
    </dgm:pt>
    <dgm:pt modelId="{29FC4156-3F56-4447-9395-E7ABC21AC431}" type="parTrans" cxnId="{FB6DA3B0-AAF4-D047-8882-B9E315720BE3}">
      <dgm:prSet/>
      <dgm:spPr/>
      <dgm:t>
        <a:bodyPr/>
        <a:lstStyle/>
        <a:p>
          <a:endParaRPr lang="en-US">
            <a:solidFill>
              <a:schemeClr val="tx1"/>
            </a:solidFill>
          </a:endParaRPr>
        </a:p>
      </dgm:t>
    </dgm:pt>
    <dgm:pt modelId="{0E4A5617-BF8E-E549-9EDD-81328364B485}" type="sibTrans" cxnId="{FB6DA3B0-AAF4-D047-8882-B9E315720BE3}">
      <dgm:prSet/>
      <dgm:spPr/>
      <dgm:t>
        <a:bodyPr/>
        <a:lstStyle/>
        <a:p>
          <a:endParaRPr lang="en-US">
            <a:solidFill>
              <a:schemeClr val="tx1"/>
            </a:solidFill>
          </a:endParaRPr>
        </a:p>
      </dgm:t>
    </dgm:pt>
    <dgm:pt modelId="{C7393124-0542-834F-B9D2-B5EDFCA60585}">
      <dgm:prSet phldrT="[Text]"/>
      <dgm:spPr>
        <a:solidFill>
          <a:schemeClr val="accent6">
            <a:lumMod val="40000"/>
            <a:lumOff val="60000"/>
            <a:alpha val="90000"/>
          </a:schemeClr>
        </a:solidFill>
      </dgm:spPr>
      <dgm:t>
        <a:bodyPr/>
        <a:lstStyle/>
        <a:p>
          <a:r>
            <a:rPr lang="en-US" dirty="0" smtClean="0">
              <a:solidFill>
                <a:schemeClr val="tx1"/>
              </a:solidFill>
            </a:rPr>
            <a:t>Data Federation</a:t>
          </a:r>
        </a:p>
        <a:p>
          <a:r>
            <a:rPr lang="en-US" dirty="0" smtClean="0">
              <a:solidFill>
                <a:schemeClr val="tx1"/>
              </a:solidFill>
            </a:rPr>
            <a:t>Storage &amp; GUI</a:t>
          </a:r>
          <a:endParaRPr lang="en-US" dirty="0">
            <a:solidFill>
              <a:schemeClr val="tx1"/>
            </a:solidFill>
          </a:endParaRPr>
        </a:p>
      </dgm:t>
    </dgm:pt>
    <dgm:pt modelId="{70FD4103-65AB-CA4D-B4A7-82B01180E102}" type="parTrans" cxnId="{62A82B98-2F4E-4C44-A49C-56D9153684AF}">
      <dgm:prSet/>
      <dgm:spPr/>
      <dgm:t>
        <a:bodyPr/>
        <a:lstStyle/>
        <a:p>
          <a:endParaRPr lang="en-US">
            <a:solidFill>
              <a:schemeClr val="tx1"/>
            </a:solidFill>
          </a:endParaRPr>
        </a:p>
      </dgm:t>
    </dgm:pt>
    <dgm:pt modelId="{B7F2FC8A-C83F-6242-ADCF-947B6A776A0C}" type="sibTrans" cxnId="{62A82B98-2F4E-4C44-A49C-56D9153684AF}">
      <dgm:prSet/>
      <dgm:spPr/>
      <dgm:t>
        <a:bodyPr/>
        <a:lstStyle/>
        <a:p>
          <a:endParaRPr lang="en-US">
            <a:solidFill>
              <a:schemeClr val="tx1"/>
            </a:solidFill>
          </a:endParaRPr>
        </a:p>
      </dgm:t>
    </dgm:pt>
    <dgm:pt modelId="{8D548220-4304-6540-81E0-CC95A838AEEA}">
      <dgm:prSet phldrT="[Text]"/>
      <dgm:spPr>
        <a:solidFill>
          <a:schemeClr val="accent6">
            <a:lumMod val="40000"/>
            <a:lumOff val="60000"/>
            <a:alpha val="90000"/>
          </a:schemeClr>
        </a:solidFill>
      </dgm:spPr>
      <dgm:t>
        <a:bodyPr/>
        <a:lstStyle/>
        <a:p>
          <a:r>
            <a:rPr lang="en-US" dirty="0" smtClean="0">
              <a:solidFill>
                <a:schemeClr val="tx1"/>
              </a:solidFill>
            </a:rPr>
            <a:t>Meta-Data Search,</a:t>
          </a:r>
        </a:p>
        <a:p>
          <a:r>
            <a:rPr lang="en-US" dirty="0" smtClean="0">
              <a:solidFill>
                <a:schemeClr val="tx1"/>
              </a:solidFill>
            </a:rPr>
            <a:t>Tools, Processing</a:t>
          </a:r>
          <a:endParaRPr lang="en-US" dirty="0">
            <a:solidFill>
              <a:schemeClr val="tx1"/>
            </a:solidFill>
          </a:endParaRPr>
        </a:p>
      </dgm:t>
    </dgm:pt>
    <dgm:pt modelId="{D325330E-6ACE-4B40-88FC-30872B7FC4DD}" type="parTrans" cxnId="{8820A6D1-FAD5-9547-97F7-50B2446F9672}">
      <dgm:prSet/>
      <dgm:spPr/>
      <dgm:t>
        <a:bodyPr/>
        <a:lstStyle/>
        <a:p>
          <a:endParaRPr lang="en-US">
            <a:solidFill>
              <a:schemeClr val="tx1"/>
            </a:solidFill>
          </a:endParaRPr>
        </a:p>
      </dgm:t>
    </dgm:pt>
    <dgm:pt modelId="{7CE26294-29A5-1F48-AFEF-DA1A056F036D}" type="sibTrans" cxnId="{8820A6D1-FAD5-9547-97F7-50B2446F9672}">
      <dgm:prSet/>
      <dgm:spPr/>
      <dgm:t>
        <a:bodyPr/>
        <a:lstStyle/>
        <a:p>
          <a:endParaRPr lang="en-US">
            <a:solidFill>
              <a:schemeClr val="tx1"/>
            </a:solidFill>
          </a:endParaRPr>
        </a:p>
      </dgm:t>
    </dgm:pt>
    <dgm:pt modelId="{FE29BC9B-6102-C545-90C9-2C7FE3B40035}">
      <dgm:prSet phldrT="[Text]"/>
      <dgm:spPr>
        <a:solidFill>
          <a:schemeClr val="accent3">
            <a:lumMod val="60000"/>
            <a:lumOff val="40000"/>
            <a:alpha val="90000"/>
          </a:schemeClr>
        </a:solidFill>
      </dgm:spPr>
      <dgm:t>
        <a:bodyPr/>
        <a:lstStyle/>
        <a:p>
          <a:r>
            <a:rPr lang="en-US" dirty="0" smtClean="0">
              <a:solidFill>
                <a:schemeClr val="tx1"/>
              </a:solidFill>
            </a:rPr>
            <a:t>GeneLab </a:t>
          </a:r>
        </a:p>
        <a:p>
          <a:r>
            <a:rPr lang="en-US" dirty="0" smtClean="0">
              <a:solidFill>
                <a:schemeClr val="tx1"/>
              </a:solidFill>
            </a:rPr>
            <a:t>Phase 4</a:t>
          </a:r>
        </a:p>
        <a:p>
          <a:r>
            <a:rPr lang="en-US" dirty="0" smtClean="0">
              <a:solidFill>
                <a:schemeClr val="tx1"/>
              </a:solidFill>
            </a:rPr>
            <a:t>CY 2018-2021</a:t>
          </a:r>
          <a:endParaRPr lang="en-US" dirty="0">
            <a:solidFill>
              <a:schemeClr val="tx1"/>
            </a:solidFill>
          </a:endParaRPr>
        </a:p>
      </dgm:t>
    </dgm:pt>
    <dgm:pt modelId="{774847DD-FFEF-3048-8879-EED1AFFE2E64}" type="parTrans" cxnId="{2296DE67-2C02-D74D-B46D-0324341E2C7C}">
      <dgm:prSet/>
      <dgm:spPr/>
      <dgm:t>
        <a:bodyPr/>
        <a:lstStyle/>
        <a:p>
          <a:endParaRPr lang="en-US">
            <a:solidFill>
              <a:schemeClr val="tx1"/>
            </a:solidFill>
          </a:endParaRPr>
        </a:p>
      </dgm:t>
    </dgm:pt>
    <dgm:pt modelId="{BB52DC75-E0E4-E44F-9716-1DFB2500B224}" type="sibTrans" cxnId="{2296DE67-2C02-D74D-B46D-0324341E2C7C}">
      <dgm:prSet/>
      <dgm:spPr/>
      <dgm:t>
        <a:bodyPr/>
        <a:lstStyle/>
        <a:p>
          <a:endParaRPr lang="en-US">
            <a:solidFill>
              <a:schemeClr val="tx1"/>
            </a:solidFill>
          </a:endParaRPr>
        </a:p>
      </dgm:t>
    </dgm:pt>
    <dgm:pt modelId="{A3E57CB5-80D7-8441-993D-EA767C0A88B7}">
      <dgm:prSet phldrT="[Text]"/>
      <dgm:spPr>
        <a:solidFill>
          <a:schemeClr val="accent5">
            <a:lumMod val="60000"/>
            <a:lumOff val="40000"/>
            <a:alpha val="90000"/>
          </a:schemeClr>
        </a:solidFill>
      </dgm:spPr>
      <dgm:t>
        <a:bodyPr/>
        <a:lstStyle/>
        <a:p>
          <a:r>
            <a:rPr lang="en-US" dirty="0" smtClean="0">
              <a:solidFill>
                <a:schemeClr val="tx1"/>
              </a:solidFill>
            </a:rPr>
            <a:t>Support and Maintain</a:t>
          </a:r>
          <a:endParaRPr lang="en-US" dirty="0">
            <a:solidFill>
              <a:schemeClr val="tx1"/>
            </a:solidFill>
          </a:endParaRPr>
        </a:p>
      </dgm:t>
    </dgm:pt>
    <dgm:pt modelId="{869BF765-EFAB-1B48-9F1B-F0B48C7DC796}" type="parTrans" cxnId="{E6066FBE-2873-0644-9E7A-5626689227AE}">
      <dgm:prSet/>
      <dgm:spPr/>
      <dgm:t>
        <a:bodyPr/>
        <a:lstStyle/>
        <a:p>
          <a:endParaRPr lang="en-US">
            <a:solidFill>
              <a:schemeClr val="tx1"/>
            </a:solidFill>
          </a:endParaRPr>
        </a:p>
      </dgm:t>
    </dgm:pt>
    <dgm:pt modelId="{00557C0D-821F-594B-8C7F-4461C338AB97}" type="sibTrans" cxnId="{E6066FBE-2873-0644-9E7A-5626689227AE}">
      <dgm:prSet/>
      <dgm:spPr/>
      <dgm:t>
        <a:bodyPr/>
        <a:lstStyle/>
        <a:p>
          <a:endParaRPr lang="en-US">
            <a:solidFill>
              <a:schemeClr val="tx1"/>
            </a:solidFill>
          </a:endParaRPr>
        </a:p>
      </dgm:t>
    </dgm:pt>
    <dgm:pt modelId="{5E9FA387-F548-D641-A0A4-D5E112B87F16}">
      <dgm:prSet phldrT="[Text]"/>
      <dgm:spPr>
        <a:solidFill>
          <a:schemeClr val="accent6">
            <a:lumMod val="40000"/>
            <a:lumOff val="60000"/>
            <a:alpha val="90000"/>
          </a:schemeClr>
        </a:solidFill>
      </dgm:spPr>
      <dgm:t>
        <a:bodyPr/>
        <a:lstStyle/>
        <a:p>
          <a:r>
            <a:rPr lang="en-US" dirty="0" smtClean="0">
              <a:solidFill>
                <a:schemeClr val="tx1"/>
              </a:solidFill>
            </a:rPr>
            <a:t>Full Capability</a:t>
          </a:r>
          <a:endParaRPr lang="en-US" dirty="0">
            <a:solidFill>
              <a:schemeClr val="tx1"/>
            </a:solidFill>
          </a:endParaRPr>
        </a:p>
      </dgm:t>
    </dgm:pt>
    <dgm:pt modelId="{849729DC-FE38-7342-989C-4877D8A6C03F}" type="parTrans" cxnId="{EB92C1C3-60D5-AB47-857A-B21A4CF54B80}">
      <dgm:prSet/>
      <dgm:spPr/>
      <dgm:t>
        <a:bodyPr/>
        <a:lstStyle/>
        <a:p>
          <a:endParaRPr lang="en-US">
            <a:solidFill>
              <a:schemeClr val="tx1"/>
            </a:solidFill>
          </a:endParaRPr>
        </a:p>
      </dgm:t>
    </dgm:pt>
    <dgm:pt modelId="{3D118B0F-C53D-B142-9AAD-D35E8CD62613}" type="sibTrans" cxnId="{EB92C1C3-60D5-AB47-857A-B21A4CF54B80}">
      <dgm:prSet/>
      <dgm:spPr/>
      <dgm:t>
        <a:bodyPr/>
        <a:lstStyle/>
        <a:p>
          <a:endParaRPr lang="en-US">
            <a:solidFill>
              <a:schemeClr val="tx1"/>
            </a:solidFill>
          </a:endParaRPr>
        </a:p>
      </dgm:t>
    </dgm:pt>
    <dgm:pt modelId="{630140DD-8BBF-964D-80B9-4F4491788828}">
      <dgm:prSet phldrT="[Text]"/>
      <dgm:spPr>
        <a:solidFill>
          <a:schemeClr val="accent4">
            <a:lumMod val="60000"/>
            <a:lumOff val="40000"/>
            <a:alpha val="90000"/>
          </a:schemeClr>
        </a:solidFill>
      </dgm:spPr>
      <dgm:t>
        <a:bodyPr/>
        <a:lstStyle/>
        <a:p>
          <a:r>
            <a:rPr lang="en-US" dirty="0" smtClean="0">
              <a:solidFill>
                <a:schemeClr val="tx1"/>
              </a:solidFill>
            </a:rPr>
            <a:t>Support and Maintain</a:t>
          </a:r>
          <a:endParaRPr lang="en-US" dirty="0">
            <a:solidFill>
              <a:schemeClr val="tx1"/>
            </a:solidFill>
          </a:endParaRPr>
        </a:p>
      </dgm:t>
    </dgm:pt>
    <dgm:pt modelId="{D982BBA6-4367-8149-B0F3-5F28F08C5D78}" type="parTrans" cxnId="{E910A7F6-0D91-8A4D-9104-9F5391264B2A}">
      <dgm:prSet/>
      <dgm:spPr/>
      <dgm:t>
        <a:bodyPr/>
        <a:lstStyle/>
        <a:p>
          <a:endParaRPr lang="en-US">
            <a:solidFill>
              <a:schemeClr val="tx1"/>
            </a:solidFill>
          </a:endParaRPr>
        </a:p>
      </dgm:t>
    </dgm:pt>
    <dgm:pt modelId="{9B1A4574-ACCD-1C4D-99E1-1C11F254F97C}" type="sibTrans" cxnId="{E910A7F6-0D91-8A4D-9104-9F5391264B2A}">
      <dgm:prSet/>
      <dgm:spPr/>
      <dgm:t>
        <a:bodyPr/>
        <a:lstStyle/>
        <a:p>
          <a:endParaRPr lang="en-US">
            <a:solidFill>
              <a:schemeClr val="tx1"/>
            </a:solidFill>
          </a:endParaRPr>
        </a:p>
      </dgm:t>
    </dgm:pt>
    <dgm:pt modelId="{D1A56047-8F44-BB4A-8508-9E95F2AA167D}">
      <dgm:prSet phldrT="[Text]"/>
      <dgm:spPr>
        <a:solidFill>
          <a:srgbClr val="660066"/>
        </a:solidFill>
      </dgm:spPr>
      <dgm:t>
        <a:bodyPr/>
        <a:lstStyle/>
        <a:p>
          <a:r>
            <a:rPr lang="en-US" dirty="0" smtClean="0">
              <a:solidFill>
                <a:srgbClr val="FFFFFF"/>
              </a:solidFill>
            </a:rPr>
            <a:t>N-Gene</a:t>
          </a:r>
        </a:p>
        <a:p>
          <a:r>
            <a:rPr lang="en-US" dirty="0" smtClean="0">
              <a:solidFill>
                <a:srgbClr val="FFFFFF"/>
              </a:solidFill>
            </a:rPr>
            <a:t>Non-Curated, Non-Vetted </a:t>
          </a:r>
        </a:p>
        <a:p>
          <a:r>
            <a:rPr lang="en-US" dirty="0" smtClean="0">
              <a:solidFill>
                <a:srgbClr val="FFFFFF"/>
              </a:solidFill>
            </a:rPr>
            <a:t>Controlled Access / Not Yet Authorized</a:t>
          </a:r>
          <a:endParaRPr lang="en-US" dirty="0">
            <a:solidFill>
              <a:srgbClr val="FFFFFF"/>
            </a:solidFill>
          </a:endParaRPr>
        </a:p>
      </dgm:t>
    </dgm:pt>
    <dgm:pt modelId="{7E9E2B6B-A546-2C48-8375-0DAC1D2F4E1D}" type="parTrans" cxnId="{5CE4C5D4-644D-A04B-BAD8-F3E0BB86898E}">
      <dgm:prSet/>
      <dgm:spPr/>
      <dgm:t>
        <a:bodyPr/>
        <a:lstStyle/>
        <a:p>
          <a:endParaRPr lang="en-US">
            <a:solidFill>
              <a:schemeClr val="tx1"/>
            </a:solidFill>
          </a:endParaRPr>
        </a:p>
      </dgm:t>
    </dgm:pt>
    <dgm:pt modelId="{5F771C51-ECDC-0840-8569-0D919494A6D9}" type="sibTrans" cxnId="{5CE4C5D4-644D-A04B-BAD8-F3E0BB86898E}">
      <dgm:prSet/>
      <dgm:spPr/>
      <dgm:t>
        <a:bodyPr/>
        <a:lstStyle/>
        <a:p>
          <a:endParaRPr lang="en-US">
            <a:solidFill>
              <a:schemeClr val="tx1"/>
            </a:solidFill>
          </a:endParaRPr>
        </a:p>
      </dgm:t>
    </dgm:pt>
    <dgm:pt modelId="{C04951C9-CEFC-044B-B1B6-EAC4683B3DD8}">
      <dgm:prSet phldrT="[Text]"/>
      <dgm:spPr>
        <a:solidFill>
          <a:schemeClr val="accent4">
            <a:lumMod val="60000"/>
            <a:lumOff val="40000"/>
            <a:alpha val="90000"/>
          </a:schemeClr>
        </a:solidFill>
      </dgm:spPr>
      <dgm:t>
        <a:bodyPr/>
        <a:lstStyle/>
        <a:p>
          <a:r>
            <a:rPr lang="en-US" dirty="0" smtClean="0">
              <a:solidFill>
                <a:schemeClr val="tx1"/>
              </a:solidFill>
            </a:rPr>
            <a:t>Establish Capability</a:t>
          </a:r>
          <a:endParaRPr lang="en-US" dirty="0">
            <a:solidFill>
              <a:schemeClr val="tx1"/>
            </a:solidFill>
          </a:endParaRPr>
        </a:p>
      </dgm:t>
    </dgm:pt>
    <dgm:pt modelId="{F5CC6838-EECB-434F-94FB-5E2A0356BF49}" type="parTrans" cxnId="{906F1F6C-E811-2D4B-A182-58A776980B23}">
      <dgm:prSet/>
      <dgm:spPr/>
      <dgm:t>
        <a:bodyPr/>
        <a:lstStyle/>
        <a:p>
          <a:endParaRPr lang="en-US">
            <a:solidFill>
              <a:schemeClr val="tx1"/>
            </a:solidFill>
          </a:endParaRPr>
        </a:p>
      </dgm:t>
    </dgm:pt>
    <dgm:pt modelId="{121A13E4-21BD-894A-82A4-40CB44E3F6F1}" type="sibTrans" cxnId="{906F1F6C-E811-2D4B-A182-58A776980B23}">
      <dgm:prSet/>
      <dgm:spPr/>
      <dgm:t>
        <a:bodyPr/>
        <a:lstStyle/>
        <a:p>
          <a:endParaRPr lang="en-US">
            <a:solidFill>
              <a:schemeClr val="tx1"/>
            </a:solidFill>
          </a:endParaRPr>
        </a:p>
      </dgm:t>
    </dgm:pt>
    <dgm:pt modelId="{010DE923-D415-7446-856A-B95052FE3EA0}">
      <dgm:prSet phldrT="[Text]"/>
      <dgm:spPr>
        <a:solidFill>
          <a:schemeClr val="accent4">
            <a:lumMod val="60000"/>
            <a:lumOff val="40000"/>
            <a:alpha val="90000"/>
          </a:schemeClr>
        </a:solidFill>
      </dgm:spPr>
      <dgm:t>
        <a:bodyPr/>
        <a:lstStyle/>
        <a:p>
          <a:r>
            <a:rPr lang="en-US" dirty="0" smtClean="0">
              <a:solidFill>
                <a:schemeClr val="tx1"/>
              </a:solidFill>
            </a:rPr>
            <a:t>Support and Maintain</a:t>
          </a:r>
          <a:endParaRPr lang="en-US" dirty="0">
            <a:solidFill>
              <a:schemeClr val="tx1"/>
            </a:solidFill>
          </a:endParaRPr>
        </a:p>
      </dgm:t>
    </dgm:pt>
    <dgm:pt modelId="{2014DAE5-3FC1-2A47-9F41-7AFBA6CD7797}" type="parTrans" cxnId="{685FC8AB-CF20-424F-A499-EA95FCE92D02}">
      <dgm:prSet/>
      <dgm:spPr/>
      <dgm:t>
        <a:bodyPr/>
        <a:lstStyle/>
        <a:p>
          <a:endParaRPr lang="en-US">
            <a:solidFill>
              <a:schemeClr val="tx1"/>
            </a:solidFill>
          </a:endParaRPr>
        </a:p>
      </dgm:t>
    </dgm:pt>
    <dgm:pt modelId="{30575426-7D78-704F-AA2F-FE5350660B2C}" type="sibTrans" cxnId="{685FC8AB-CF20-424F-A499-EA95FCE92D02}">
      <dgm:prSet/>
      <dgm:spPr/>
      <dgm:t>
        <a:bodyPr/>
        <a:lstStyle/>
        <a:p>
          <a:endParaRPr lang="en-US">
            <a:solidFill>
              <a:schemeClr val="tx1"/>
            </a:solidFill>
          </a:endParaRPr>
        </a:p>
      </dgm:t>
    </dgm:pt>
    <dgm:pt modelId="{FD8E23E9-209A-704B-8216-3A439E681B9D}">
      <dgm:prSet phldrT="[Text]"/>
      <dgm:spPr>
        <a:solidFill>
          <a:schemeClr val="tx2">
            <a:lumMod val="60000"/>
            <a:lumOff val="40000"/>
            <a:alpha val="90000"/>
          </a:schemeClr>
        </a:solidFill>
      </dgm:spPr>
      <dgm:t>
        <a:bodyPr/>
        <a:lstStyle/>
        <a:p>
          <a:r>
            <a:rPr lang="en-US" dirty="0" smtClean="0">
              <a:solidFill>
                <a:schemeClr val="tx1"/>
              </a:solidFill>
            </a:rPr>
            <a:t>Support and Maintain</a:t>
          </a:r>
          <a:endParaRPr lang="en-US" dirty="0">
            <a:solidFill>
              <a:schemeClr val="tx1"/>
            </a:solidFill>
          </a:endParaRPr>
        </a:p>
      </dgm:t>
    </dgm:pt>
    <dgm:pt modelId="{41F781DA-023A-0340-8754-94E6999A3141}" type="parTrans" cxnId="{4ADD202D-CF7E-3745-96B7-85ACD94054F8}">
      <dgm:prSet/>
      <dgm:spPr/>
      <dgm:t>
        <a:bodyPr/>
        <a:lstStyle/>
        <a:p>
          <a:endParaRPr lang="en-US">
            <a:solidFill>
              <a:schemeClr val="tx1"/>
            </a:solidFill>
          </a:endParaRPr>
        </a:p>
      </dgm:t>
    </dgm:pt>
    <dgm:pt modelId="{D5FD1F4A-318D-A547-9F37-705AB61054F3}" type="sibTrans" cxnId="{4ADD202D-CF7E-3745-96B7-85ACD94054F8}">
      <dgm:prSet/>
      <dgm:spPr/>
      <dgm:t>
        <a:bodyPr/>
        <a:lstStyle/>
        <a:p>
          <a:endParaRPr lang="en-US">
            <a:solidFill>
              <a:schemeClr val="tx1"/>
            </a:solidFill>
          </a:endParaRPr>
        </a:p>
      </dgm:t>
    </dgm:pt>
    <dgm:pt modelId="{E3E69E88-21C0-2A47-8D7B-480E79EB974B}">
      <dgm:prSet phldrT="[Text]"/>
      <dgm:spPr>
        <a:solidFill>
          <a:schemeClr val="tx2">
            <a:lumMod val="50000"/>
          </a:schemeClr>
        </a:solidFill>
      </dgm:spPr>
      <dgm:t>
        <a:bodyPr/>
        <a:lstStyle/>
        <a:p>
          <a:r>
            <a:rPr lang="en-US" dirty="0" smtClean="0">
              <a:solidFill>
                <a:srgbClr val="FFFFFF"/>
              </a:solidFill>
            </a:rPr>
            <a:t>O-Gene</a:t>
          </a:r>
        </a:p>
        <a:p>
          <a:r>
            <a:rPr lang="en-US" dirty="0" smtClean="0">
              <a:solidFill>
                <a:srgbClr val="FFFFFF"/>
              </a:solidFill>
            </a:rPr>
            <a:t>Non-Curated, Non-Vetted </a:t>
          </a:r>
        </a:p>
        <a:p>
          <a:r>
            <a:rPr lang="en-US" dirty="0" smtClean="0">
              <a:solidFill>
                <a:srgbClr val="FFFFFF"/>
              </a:solidFill>
            </a:rPr>
            <a:t>Open Access / Not Yet Authorized</a:t>
          </a:r>
          <a:endParaRPr lang="en-US" dirty="0">
            <a:solidFill>
              <a:srgbClr val="FFFFFF"/>
            </a:solidFill>
          </a:endParaRPr>
        </a:p>
      </dgm:t>
    </dgm:pt>
    <dgm:pt modelId="{9630A591-6AB8-954A-8925-61C3F0530A9E}" type="parTrans" cxnId="{D6B12C80-CB85-0A47-84F5-462766C0085B}">
      <dgm:prSet/>
      <dgm:spPr/>
      <dgm:t>
        <a:bodyPr/>
        <a:lstStyle/>
        <a:p>
          <a:endParaRPr lang="en-US">
            <a:solidFill>
              <a:schemeClr val="tx1"/>
            </a:solidFill>
          </a:endParaRPr>
        </a:p>
      </dgm:t>
    </dgm:pt>
    <dgm:pt modelId="{785E8840-23B5-1A4F-B3CB-866545EAD129}" type="sibTrans" cxnId="{D6B12C80-CB85-0A47-84F5-462766C0085B}">
      <dgm:prSet/>
      <dgm:spPr/>
      <dgm:t>
        <a:bodyPr/>
        <a:lstStyle/>
        <a:p>
          <a:endParaRPr lang="en-US">
            <a:solidFill>
              <a:schemeClr val="tx1"/>
            </a:solidFill>
          </a:endParaRPr>
        </a:p>
      </dgm:t>
    </dgm:pt>
    <dgm:pt modelId="{39C56FD4-960D-0245-8204-55DCF05963FD}">
      <dgm:prSet phldrT="[Text]"/>
      <dgm:spPr>
        <a:solidFill>
          <a:schemeClr val="tx2">
            <a:lumMod val="60000"/>
            <a:lumOff val="40000"/>
            <a:alpha val="90000"/>
          </a:schemeClr>
        </a:solidFill>
      </dgm:spPr>
      <dgm:t>
        <a:bodyPr/>
        <a:lstStyle/>
        <a:p>
          <a:r>
            <a:rPr lang="en-US" dirty="0" smtClean="0">
              <a:solidFill>
                <a:schemeClr val="tx1"/>
              </a:solidFill>
            </a:rPr>
            <a:t>Establish Capability</a:t>
          </a:r>
          <a:endParaRPr lang="en-US" dirty="0">
            <a:solidFill>
              <a:schemeClr val="tx1"/>
            </a:solidFill>
          </a:endParaRPr>
        </a:p>
      </dgm:t>
    </dgm:pt>
    <dgm:pt modelId="{E719A459-8B92-AB46-A320-E834CFF7E7C6}" type="parTrans" cxnId="{610D9D39-B3CB-124A-B1BE-A16585C6AA8D}">
      <dgm:prSet/>
      <dgm:spPr/>
      <dgm:t>
        <a:bodyPr/>
        <a:lstStyle/>
        <a:p>
          <a:endParaRPr lang="en-US">
            <a:solidFill>
              <a:schemeClr val="tx1"/>
            </a:solidFill>
          </a:endParaRPr>
        </a:p>
      </dgm:t>
    </dgm:pt>
    <dgm:pt modelId="{5E819A8F-D820-C84E-A37A-9D2BE3BBE07A}" type="sibTrans" cxnId="{610D9D39-B3CB-124A-B1BE-A16585C6AA8D}">
      <dgm:prSet/>
      <dgm:spPr/>
      <dgm:t>
        <a:bodyPr/>
        <a:lstStyle/>
        <a:p>
          <a:endParaRPr lang="en-US">
            <a:solidFill>
              <a:schemeClr val="tx1"/>
            </a:solidFill>
          </a:endParaRPr>
        </a:p>
      </dgm:t>
    </dgm:pt>
    <dgm:pt modelId="{C61C8964-ADDE-7C4C-BF1D-A30812D98A45}">
      <dgm:prSet phldrT="[Text]"/>
      <dgm:spPr>
        <a:solidFill>
          <a:schemeClr val="tx2">
            <a:lumMod val="60000"/>
            <a:lumOff val="40000"/>
            <a:alpha val="90000"/>
          </a:schemeClr>
        </a:solidFill>
      </dgm:spPr>
      <dgm:t>
        <a:bodyPr/>
        <a:lstStyle/>
        <a:p>
          <a:r>
            <a:rPr lang="en-US" dirty="0" smtClean="0">
              <a:solidFill>
                <a:schemeClr val="tx1"/>
              </a:solidFill>
            </a:rPr>
            <a:t>Support and Maintain</a:t>
          </a:r>
          <a:endParaRPr lang="en-US" dirty="0">
            <a:solidFill>
              <a:schemeClr val="tx1"/>
            </a:solidFill>
          </a:endParaRPr>
        </a:p>
      </dgm:t>
    </dgm:pt>
    <dgm:pt modelId="{15EEF632-1878-BA43-BC95-74F5575F30F8}" type="parTrans" cxnId="{D26EA508-B5FE-8144-AC44-6285B99970B1}">
      <dgm:prSet/>
      <dgm:spPr/>
      <dgm:t>
        <a:bodyPr/>
        <a:lstStyle/>
        <a:p>
          <a:endParaRPr lang="en-US">
            <a:solidFill>
              <a:schemeClr val="tx1"/>
            </a:solidFill>
          </a:endParaRPr>
        </a:p>
      </dgm:t>
    </dgm:pt>
    <dgm:pt modelId="{3ABFE773-6E4A-BF4A-9EE1-55941C5C876D}" type="sibTrans" cxnId="{D26EA508-B5FE-8144-AC44-6285B99970B1}">
      <dgm:prSet/>
      <dgm:spPr/>
      <dgm:t>
        <a:bodyPr/>
        <a:lstStyle/>
        <a:p>
          <a:endParaRPr lang="en-US">
            <a:solidFill>
              <a:schemeClr val="tx1"/>
            </a:solidFill>
          </a:endParaRPr>
        </a:p>
      </dgm:t>
    </dgm:pt>
    <dgm:pt modelId="{29361876-AAF5-CC4A-8C6B-CDBECCE4EB70}">
      <dgm:prSet phldrT="[Text]"/>
      <dgm:spPr>
        <a:solidFill>
          <a:schemeClr val="accent2">
            <a:lumMod val="50000"/>
          </a:schemeClr>
        </a:solidFill>
      </dgm:spPr>
      <dgm:t>
        <a:bodyPr/>
        <a:lstStyle/>
        <a:p>
          <a:r>
            <a:rPr lang="en-US" dirty="0" smtClean="0">
              <a:solidFill>
                <a:srgbClr val="FFFFFF"/>
              </a:solidFill>
            </a:rPr>
            <a:t>T-Gene</a:t>
          </a:r>
        </a:p>
        <a:p>
          <a:r>
            <a:rPr lang="en-US" dirty="0" smtClean="0">
              <a:solidFill>
                <a:srgbClr val="FFFFFF"/>
              </a:solidFill>
            </a:rPr>
            <a:t>Analytical Tool Repository</a:t>
          </a:r>
        </a:p>
        <a:p>
          <a:r>
            <a:rPr lang="en-US" dirty="0" smtClean="0">
              <a:solidFill>
                <a:srgbClr val="FFFFFF"/>
              </a:solidFill>
            </a:rPr>
            <a:t>Not Yet Authorized</a:t>
          </a:r>
          <a:endParaRPr lang="en-US" dirty="0">
            <a:solidFill>
              <a:srgbClr val="FFFFFF"/>
            </a:solidFill>
          </a:endParaRPr>
        </a:p>
      </dgm:t>
    </dgm:pt>
    <dgm:pt modelId="{83AEAD3D-682A-9446-A9E2-3B41EC28FD25}" type="parTrans" cxnId="{79590FA2-BB70-D347-9EBA-D013C985A14F}">
      <dgm:prSet/>
      <dgm:spPr/>
      <dgm:t>
        <a:bodyPr/>
        <a:lstStyle/>
        <a:p>
          <a:endParaRPr lang="en-US">
            <a:solidFill>
              <a:schemeClr val="tx1"/>
            </a:solidFill>
          </a:endParaRPr>
        </a:p>
      </dgm:t>
    </dgm:pt>
    <dgm:pt modelId="{2943C74D-DD6D-0348-92C7-C1D851069C17}" type="sibTrans" cxnId="{79590FA2-BB70-D347-9EBA-D013C985A14F}">
      <dgm:prSet/>
      <dgm:spPr/>
      <dgm:t>
        <a:bodyPr/>
        <a:lstStyle/>
        <a:p>
          <a:endParaRPr lang="en-US">
            <a:solidFill>
              <a:schemeClr val="tx1"/>
            </a:solidFill>
          </a:endParaRPr>
        </a:p>
      </dgm:t>
    </dgm:pt>
    <dgm:pt modelId="{E1843186-0D8D-7B4D-8347-43DAC8D67F12}">
      <dgm:prSet phldrT="[Text]"/>
      <dgm:spPr>
        <a:noFill/>
      </dgm:spPr>
      <dgm:t>
        <a:bodyPr/>
        <a:lstStyle/>
        <a:p>
          <a:endParaRPr lang="en-US" dirty="0">
            <a:solidFill>
              <a:schemeClr val="tx1"/>
            </a:solidFill>
          </a:endParaRPr>
        </a:p>
      </dgm:t>
    </dgm:pt>
    <dgm:pt modelId="{BF3F127D-5B5F-1A47-B00B-CF806A5B6AC5}" type="parTrans" cxnId="{A9FA7CDF-575B-1143-A42D-39F4E834829C}">
      <dgm:prSet/>
      <dgm:spPr/>
      <dgm:t>
        <a:bodyPr/>
        <a:lstStyle/>
        <a:p>
          <a:endParaRPr lang="en-US">
            <a:solidFill>
              <a:schemeClr val="tx1"/>
            </a:solidFill>
          </a:endParaRPr>
        </a:p>
      </dgm:t>
    </dgm:pt>
    <dgm:pt modelId="{36843647-EAC4-5248-8DC2-DA098E131C2C}" type="sibTrans" cxnId="{A9FA7CDF-575B-1143-A42D-39F4E834829C}">
      <dgm:prSet/>
      <dgm:spPr/>
      <dgm:t>
        <a:bodyPr/>
        <a:lstStyle/>
        <a:p>
          <a:endParaRPr lang="en-US">
            <a:solidFill>
              <a:schemeClr val="tx1"/>
            </a:solidFill>
          </a:endParaRPr>
        </a:p>
      </dgm:t>
    </dgm:pt>
    <dgm:pt modelId="{882BAAF5-ABA9-B644-97A7-479FD25F3754}">
      <dgm:prSet phldrT="[Text]"/>
      <dgm:spPr>
        <a:solidFill>
          <a:schemeClr val="accent2">
            <a:lumMod val="60000"/>
            <a:lumOff val="40000"/>
            <a:alpha val="90000"/>
          </a:schemeClr>
        </a:solidFill>
      </dgm:spPr>
      <dgm:t>
        <a:bodyPr/>
        <a:lstStyle/>
        <a:p>
          <a:r>
            <a:rPr lang="en-US" dirty="0" smtClean="0">
              <a:solidFill>
                <a:schemeClr val="tx1"/>
              </a:solidFill>
            </a:rPr>
            <a:t>Integrating Tools</a:t>
          </a:r>
          <a:endParaRPr lang="en-US" dirty="0">
            <a:solidFill>
              <a:schemeClr val="tx1"/>
            </a:solidFill>
          </a:endParaRPr>
        </a:p>
      </dgm:t>
    </dgm:pt>
    <dgm:pt modelId="{03056AA3-39F0-F240-8F54-8B6E8FA24C2F}" type="parTrans" cxnId="{5D7C6883-BC60-6642-B0E7-3EB20BADC4D6}">
      <dgm:prSet/>
      <dgm:spPr/>
      <dgm:t>
        <a:bodyPr/>
        <a:lstStyle/>
        <a:p>
          <a:endParaRPr lang="en-US">
            <a:solidFill>
              <a:schemeClr val="tx1"/>
            </a:solidFill>
          </a:endParaRPr>
        </a:p>
      </dgm:t>
    </dgm:pt>
    <dgm:pt modelId="{55C3E6FC-4436-3449-A9A7-406389FF9120}" type="sibTrans" cxnId="{5D7C6883-BC60-6642-B0E7-3EB20BADC4D6}">
      <dgm:prSet/>
      <dgm:spPr/>
      <dgm:t>
        <a:bodyPr/>
        <a:lstStyle/>
        <a:p>
          <a:endParaRPr lang="en-US">
            <a:solidFill>
              <a:schemeClr val="tx1"/>
            </a:solidFill>
          </a:endParaRPr>
        </a:p>
      </dgm:t>
    </dgm:pt>
    <dgm:pt modelId="{E8EF5389-2A4C-7C40-95EE-52FE9F4071D5}">
      <dgm:prSet phldrT="[Text]"/>
      <dgm:spPr>
        <a:solidFill>
          <a:schemeClr val="accent6">
            <a:lumMod val="50000"/>
          </a:schemeClr>
        </a:solidFill>
      </dgm:spPr>
      <dgm:t>
        <a:bodyPr/>
        <a:lstStyle/>
        <a:p>
          <a:r>
            <a:rPr lang="en-US" dirty="0" smtClean="0">
              <a:solidFill>
                <a:srgbClr val="FFFFFF"/>
              </a:solidFill>
            </a:rPr>
            <a:t>X-Gene</a:t>
          </a:r>
        </a:p>
        <a:p>
          <a:r>
            <a:rPr lang="en-US" u="sng" dirty="0" smtClean="0">
              <a:solidFill>
                <a:srgbClr val="FFFFFF"/>
              </a:solidFill>
            </a:rPr>
            <a:t>Extend </a:t>
          </a:r>
          <a:r>
            <a:rPr lang="en-US" u="none" dirty="0" smtClean="0">
              <a:solidFill>
                <a:srgbClr val="FFFFFF"/>
              </a:solidFill>
            </a:rPr>
            <a:t>C-Gene </a:t>
          </a:r>
          <a:r>
            <a:rPr lang="en-US" dirty="0" smtClean="0">
              <a:solidFill>
                <a:srgbClr val="FFFFFF"/>
              </a:solidFill>
            </a:rPr>
            <a:t>Capabilities</a:t>
          </a:r>
          <a:endParaRPr lang="en-US" dirty="0">
            <a:solidFill>
              <a:srgbClr val="FFFFFF"/>
            </a:solidFill>
          </a:endParaRPr>
        </a:p>
      </dgm:t>
    </dgm:pt>
    <dgm:pt modelId="{471AB678-F120-1645-85AF-55EC44B9C999}" type="sibTrans" cxnId="{5A1937B0-8E57-F04C-BBF6-EC41259D3BCB}">
      <dgm:prSet/>
      <dgm:spPr/>
      <dgm:t>
        <a:bodyPr/>
        <a:lstStyle/>
        <a:p>
          <a:endParaRPr lang="en-US">
            <a:solidFill>
              <a:schemeClr val="tx1"/>
            </a:solidFill>
          </a:endParaRPr>
        </a:p>
      </dgm:t>
    </dgm:pt>
    <dgm:pt modelId="{344EC982-3F27-544C-A9CD-C365DC95A146}" type="parTrans" cxnId="{5A1937B0-8E57-F04C-BBF6-EC41259D3BCB}">
      <dgm:prSet/>
      <dgm:spPr/>
      <dgm:t>
        <a:bodyPr/>
        <a:lstStyle/>
        <a:p>
          <a:endParaRPr lang="en-US">
            <a:solidFill>
              <a:schemeClr val="tx1"/>
            </a:solidFill>
          </a:endParaRPr>
        </a:p>
      </dgm:t>
    </dgm:pt>
    <dgm:pt modelId="{7518AA7F-4737-3742-BC05-05769876D68E}">
      <dgm:prSet phldrT="[Text]"/>
      <dgm:spPr>
        <a:solidFill>
          <a:schemeClr val="accent2">
            <a:lumMod val="60000"/>
            <a:lumOff val="40000"/>
            <a:alpha val="90000"/>
          </a:schemeClr>
        </a:solidFill>
      </dgm:spPr>
      <dgm:t>
        <a:bodyPr/>
        <a:lstStyle/>
        <a:p>
          <a:r>
            <a:rPr lang="en-US" dirty="0" smtClean="0">
              <a:solidFill>
                <a:schemeClr val="tx1"/>
              </a:solidFill>
            </a:rPr>
            <a:t>Full capability</a:t>
          </a:r>
          <a:endParaRPr lang="en-US" dirty="0">
            <a:solidFill>
              <a:schemeClr val="tx1"/>
            </a:solidFill>
          </a:endParaRPr>
        </a:p>
      </dgm:t>
    </dgm:pt>
    <dgm:pt modelId="{E67F78EC-62E7-0B43-A6C9-2AF7D2685315}" type="parTrans" cxnId="{4141D20D-51D8-4C40-A79D-DD747396C9A8}">
      <dgm:prSet/>
      <dgm:spPr/>
      <dgm:t>
        <a:bodyPr/>
        <a:lstStyle/>
        <a:p>
          <a:endParaRPr lang="en-US"/>
        </a:p>
      </dgm:t>
    </dgm:pt>
    <dgm:pt modelId="{F2301B08-F23E-5542-8CE0-DE5907A22BAF}" type="sibTrans" cxnId="{4141D20D-51D8-4C40-A79D-DD747396C9A8}">
      <dgm:prSet/>
      <dgm:spPr/>
      <dgm:t>
        <a:bodyPr/>
        <a:lstStyle/>
        <a:p>
          <a:endParaRPr lang="en-US"/>
        </a:p>
      </dgm:t>
    </dgm:pt>
    <dgm:pt modelId="{1CDBACD7-E97C-8C40-BD5C-91D44531FBB9}">
      <dgm:prSet phldrT="[Text]"/>
      <dgm:spPr>
        <a:solidFill>
          <a:schemeClr val="bg2">
            <a:lumMod val="10000"/>
          </a:schemeClr>
        </a:solidFill>
      </dgm:spPr>
      <dgm:t>
        <a:bodyPr/>
        <a:lstStyle/>
        <a:p>
          <a:r>
            <a:rPr lang="en-US" dirty="0" smtClean="0">
              <a:solidFill>
                <a:srgbClr val="FFFFFF"/>
              </a:solidFill>
            </a:rPr>
            <a:t>H-Gene</a:t>
          </a:r>
        </a:p>
        <a:p>
          <a:r>
            <a:rPr lang="en-US" dirty="0" smtClean="0">
              <a:solidFill>
                <a:srgbClr val="FFFFFF"/>
              </a:solidFill>
            </a:rPr>
            <a:t>Human </a:t>
          </a:r>
          <a:r>
            <a:rPr lang="en-US" dirty="0" err="1" smtClean="0">
              <a:solidFill>
                <a:srgbClr val="FFFFFF"/>
              </a:solidFill>
            </a:rPr>
            <a:t>Omics</a:t>
          </a:r>
          <a:r>
            <a:rPr lang="en-US" dirty="0" smtClean="0">
              <a:solidFill>
                <a:srgbClr val="FFFFFF"/>
              </a:solidFill>
            </a:rPr>
            <a:t> Data</a:t>
          </a:r>
        </a:p>
        <a:p>
          <a:r>
            <a:rPr lang="en-US" dirty="0" smtClean="0">
              <a:solidFill>
                <a:srgbClr val="FFFFFF"/>
              </a:solidFill>
            </a:rPr>
            <a:t>Not Yet Authorized</a:t>
          </a:r>
          <a:endParaRPr lang="en-US" dirty="0">
            <a:solidFill>
              <a:srgbClr val="FFFFFF"/>
            </a:solidFill>
          </a:endParaRPr>
        </a:p>
      </dgm:t>
    </dgm:pt>
    <dgm:pt modelId="{B44C0F54-7D48-3B45-97F5-507D8FF7C71F}" type="parTrans" cxnId="{5F2D502E-A941-8D46-83AD-FA17CF82C998}">
      <dgm:prSet/>
      <dgm:spPr/>
      <dgm:t>
        <a:bodyPr/>
        <a:lstStyle/>
        <a:p>
          <a:endParaRPr lang="en-US"/>
        </a:p>
      </dgm:t>
    </dgm:pt>
    <dgm:pt modelId="{6DACE881-D388-BD40-B987-1AA38F341C8F}" type="sibTrans" cxnId="{5F2D502E-A941-8D46-83AD-FA17CF82C998}">
      <dgm:prSet/>
      <dgm:spPr/>
      <dgm:t>
        <a:bodyPr/>
        <a:lstStyle/>
        <a:p>
          <a:endParaRPr lang="en-US"/>
        </a:p>
      </dgm:t>
    </dgm:pt>
    <dgm:pt modelId="{B644E403-3CF7-BE45-98C3-BEF62E68E115}">
      <dgm:prSet phldrT="[Text]"/>
      <dgm:spPr>
        <a:solidFill>
          <a:srgbClr val="FFFFFF">
            <a:alpha val="90000"/>
          </a:srgbClr>
        </a:solidFill>
      </dgm:spPr>
      <dgm:t>
        <a:bodyPr/>
        <a:lstStyle/>
        <a:p>
          <a:endParaRPr lang="en-US" dirty="0">
            <a:solidFill>
              <a:schemeClr val="tx1"/>
            </a:solidFill>
          </a:endParaRPr>
        </a:p>
      </dgm:t>
    </dgm:pt>
    <dgm:pt modelId="{E3D2E6EC-B9FA-9444-B4C3-3516BA1E606C}" type="parTrans" cxnId="{C52A0AAF-44B9-9944-9DD5-5EC7C79CF140}">
      <dgm:prSet/>
      <dgm:spPr/>
      <dgm:t>
        <a:bodyPr/>
        <a:lstStyle/>
        <a:p>
          <a:endParaRPr lang="en-US"/>
        </a:p>
      </dgm:t>
    </dgm:pt>
    <dgm:pt modelId="{F18E03BE-0F13-1E41-82A6-FCED1A51B4F2}" type="sibTrans" cxnId="{C52A0AAF-44B9-9944-9DD5-5EC7C79CF140}">
      <dgm:prSet/>
      <dgm:spPr/>
      <dgm:t>
        <a:bodyPr/>
        <a:lstStyle/>
        <a:p>
          <a:endParaRPr lang="en-US"/>
        </a:p>
      </dgm:t>
    </dgm:pt>
    <dgm:pt modelId="{F43A69C8-3CAB-C149-A981-649B17817BFF}">
      <dgm:prSet phldrT="[Text]"/>
      <dgm:spPr>
        <a:solidFill>
          <a:srgbClr val="FFFFFF">
            <a:alpha val="90000"/>
          </a:srgbClr>
        </a:solidFill>
      </dgm:spPr>
      <dgm:t>
        <a:bodyPr/>
        <a:lstStyle/>
        <a:p>
          <a:endParaRPr lang="en-US" dirty="0">
            <a:solidFill>
              <a:schemeClr val="tx1"/>
            </a:solidFill>
          </a:endParaRPr>
        </a:p>
      </dgm:t>
    </dgm:pt>
    <dgm:pt modelId="{B05BD843-35B6-F246-A2A7-C218A083D6F0}" type="parTrans" cxnId="{D891D2EB-A874-524D-B967-B7E2753AE896}">
      <dgm:prSet/>
      <dgm:spPr/>
      <dgm:t>
        <a:bodyPr/>
        <a:lstStyle/>
        <a:p>
          <a:endParaRPr lang="en-US"/>
        </a:p>
      </dgm:t>
    </dgm:pt>
    <dgm:pt modelId="{A3C08EA4-1399-D044-A9D6-670D01116C56}" type="sibTrans" cxnId="{D891D2EB-A874-524D-B967-B7E2753AE896}">
      <dgm:prSet/>
      <dgm:spPr/>
      <dgm:t>
        <a:bodyPr/>
        <a:lstStyle/>
        <a:p>
          <a:endParaRPr lang="en-US"/>
        </a:p>
      </dgm:t>
    </dgm:pt>
    <dgm:pt modelId="{5BFB7A79-C94E-854C-901E-20B19F4FED26}">
      <dgm:prSet phldrT="[Text]"/>
      <dgm:spPr>
        <a:solidFill>
          <a:schemeClr val="bg2">
            <a:lumMod val="50000"/>
            <a:alpha val="90000"/>
          </a:schemeClr>
        </a:solidFill>
      </dgm:spPr>
      <dgm:t>
        <a:bodyPr/>
        <a:lstStyle/>
        <a:p>
          <a:r>
            <a:rPr lang="en-US" dirty="0" smtClean="0">
              <a:solidFill>
                <a:schemeClr val="tx1"/>
              </a:solidFill>
            </a:rPr>
            <a:t>Initial Capability</a:t>
          </a:r>
          <a:endParaRPr lang="en-US" dirty="0">
            <a:solidFill>
              <a:schemeClr val="tx1"/>
            </a:solidFill>
          </a:endParaRPr>
        </a:p>
      </dgm:t>
    </dgm:pt>
    <dgm:pt modelId="{F8BCC15B-6686-E048-9D16-E324419E87C4}" type="parTrans" cxnId="{2AA0B151-C40F-E04B-8C8F-D887AB1DAF8C}">
      <dgm:prSet/>
      <dgm:spPr/>
      <dgm:t>
        <a:bodyPr/>
        <a:lstStyle/>
        <a:p>
          <a:endParaRPr lang="en-US"/>
        </a:p>
      </dgm:t>
    </dgm:pt>
    <dgm:pt modelId="{7ED3C723-B2A8-3945-8E45-4D73A8E9547C}" type="sibTrans" cxnId="{2AA0B151-C40F-E04B-8C8F-D887AB1DAF8C}">
      <dgm:prSet/>
      <dgm:spPr/>
      <dgm:t>
        <a:bodyPr/>
        <a:lstStyle/>
        <a:p>
          <a:endParaRPr lang="en-US"/>
        </a:p>
      </dgm:t>
    </dgm:pt>
    <dgm:pt modelId="{CAD6D5E5-0B06-B246-A841-5578FDB923C0}" type="pres">
      <dgm:prSet presAssocID="{6D511EB3-CFF1-E140-80AB-FBBE9C6F96F6}" presName="Name0" presStyleCnt="0">
        <dgm:presLayoutVars>
          <dgm:chPref val="3"/>
          <dgm:dir/>
          <dgm:animLvl val="lvl"/>
          <dgm:resizeHandles/>
        </dgm:presLayoutVars>
      </dgm:prSet>
      <dgm:spPr/>
      <dgm:t>
        <a:bodyPr/>
        <a:lstStyle/>
        <a:p>
          <a:endParaRPr lang="en-US"/>
        </a:p>
      </dgm:t>
    </dgm:pt>
    <dgm:pt modelId="{8342379B-EB03-CA46-89B8-5A23D92B7485}" type="pres">
      <dgm:prSet presAssocID="{5E896CCB-6C5B-0740-BFC4-77F280FC8378}" presName="horFlow" presStyleCnt="0"/>
      <dgm:spPr/>
    </dgm:pt>
    <dgm:pt modelId="{C145CC1E-B6B6-1844-8E31-7ABFA13C52F0}" type="pres">
      <dgm:prSet presAssocID="{5E896CCB-6C5B-0740-BFC4-77F280FC8378}" presName="bigChev" presStyleLbl="node1" presStyleIdx="0" presStyleCnt="7" custScaleX="185250" custLinFactNeighborY="-1363"/>
      <dgm:spPr/>
      <dgm:t>
        <a:bodyPr/>
        <a:lstStyle/>
        <a:p>
          <a:endParaRPr lang="en-US"/>
        </a:p>
      </dgm:t>
    </dgm:pt>
    <dgm:pt modelId="{666B3482-3F84-AF45-855C-D7BEB65F4CDC}" type="pres">
      <dgm:prSet presAssocID="{EB7580AF-CC55-AA4E-8C64-8C5679A18BA4}" presName="parTrans" presStyleCnt="0"/>
      <dgm:spPr/>
    </dgm:pt>
    <dgm:pt modelId="{F53FCBDF-BAD6-4545-88E5-98E8F514FE30}" type="pres">
      <dgm:prSet presAssocID="{180C0CD0-B245-E844-96A0-1BF36D5B8158}" presName="node" presStyleLbl="alignAccFollowNode1" presStyleIdx="0" presStyleCnt="21" custLinFactNeighborY="341">
        <dgm:presLayoutVars>
          <dgm:bulletEnabled val="1"/>
        </dgm:presLayoutVars>
      </dgm:prSet>
      <dgm:spPr/>
      <dgm:t>
        <a:bodyPr/>
        <a:lstStyle/>
        <a:p>
          <a:endParaRPr lang="en-US"/>
        </a:p>
      </dgm:t>
    </dgm:pt>
    <dgm:pt modelId="{DC55DD67-5147-714E-A35D-1B024FDAC0D0}" type="pres">
      <dgm:prSet presAssocID="{616DB9A2-ED55-3E4E-90D8-7F16344188D5}" presName="sibTrans" presStyleCnt="0"/>
      <dgm:spPr/>
    </dgm:pt>
    <dgm:pt modelId="{197E642F-5114-0F43-96CC-5BDF0583DC57}" type="pres">
      <dgm:prSet presAssocID="{ADE3E679-06CC-AA4B-BB6F-5773B9E6BE48}" presName="node" presStyleLbl="alignAccFollowNode1" presStyleIdx="1" presStyleCnt="21" custLinFactNeighborY="341">
        <dgm:presLayoutVars>
          <dgm:bulletEnabled val="1"/>
        </dgm:presLayoutVars>
      </dgm:prSet>
      <dgm:spPr/>
      <dgm:t>
        <a:bodyPr/>
        <a:lstStyle/>
        <a:p>
          <a:endParaRPr lang="en-US"/>
        </a:p>
      </dgm:t>
    </dgm:pt>
    <dgm:pt modelId="{8B4D7F1F-82BF-8A45-BB7B-0F84609ABB20}" type="pres">
      <dgm:prSet presAssocID="{3DF93A5B-9514-6340-BDAB-7113398B5B69}" presName="sibTrans" presStyleCnt="0"/>
      <dgm:spPr/>
    </dgm:pt>
    <dgm:pt modelId="{A4F3D06D-9777-1C47-9E7B-3D46B4F66A66}" type="pres">
      <dgm:prSet presAssocID="{FE29BC9B-6102-C545-90C9-2C7FE3B40035}" presName="node" presStyleLbl="alignAccFollowNode1" presStyleIdx="2" presStyleCnt="21" custLinFactNeighborY="341">
        <dgm:presLayoutVars>
          <dgm:bulletEnabled val="1"/>
        </dgm:presLayoutVars>
      </dgm:prSet>
      <dgm:spPr/>
      <dgm:t>
        <a:bodyPr/>
        <a:lstStyle/>
        <a:p>
          <a:endParaRPr lang="en-US"/>
        </a:p>
      </dgm:t>
    </dgm:pt>
    <dgm:pt modelId="{937A7420-11F1-5B46-BD99-13E74E0CD2EC}" type="pres">
      <dgm:prSet presAssocID="{5E896CCB-6C5B-0740-BFC4-77F280FC8378}" presName="vSp" presStyleCnt="0"/>
      <dgm:spPr/>
    </dgm:pt>
    <dgm:pt modelId="{35564949-BA2B-7B4D-A507-FD89535536FD}" type="pres">
      <dgm:prSet presAssocID="{404441A0-1951-2547-8BAB-3D03CEA4C362}" presName="horFlow" presStyleCnt="0"/>
      <dgm:spPr/>
    </dgm:pt>
    <dgm:pt modelId="{775A69E5-2BBF-614F-AFDD-D0A3D0362508}" type="pres">
      <dgm:prSet presAssocID="{404441A0-1951-2547-8BAB-3D03CEA4C362}" presName="bigChev" presStyleLbl="node1" presStyleIdx="1" presStyleCnt="7" custScaleX="185250" custLinFactNeighborY="-5495"/>
      <dgm:spPr/>
      <dgm:t>
        <a:bodyPr/>
        <a:lstStyle/>
        <a:p>
          <a:endParaRPr lang="en-US"/>
        </a:p>
      </dgm:t>
    </dgm:pt>
    <dgm:pt modelId="{7906B6F1-4EF4-AF40-9AA3-008E1A7368E6}" type="pres">
      <dgm:prSet presAssocID="{B45E1C76-F2DE-5C4A-B7DC-FD90AACE113A}" presName="parTrans" presStyleCnt="0"/>
      <dgm:spPr/>
    </dgm:pt>
    <dgm:pt modelId="{31CACEB6-9FD5-8C4B-8B65-122296461EA4}" type="pres">
      <dgm:prSet presAssocID="{356FD089-9E3C-8F4A-903F-35E5072EDA7F}" presName="node" presStyleLbl="alignAccFollowNode1" presStyleIdx="3" presStyleCnt="21" custLinFactNeighborY="-6625">
        <dgm:presLayoutVars>
          <dgm:bulletEnabled val="1"/>
        </dgm:presLayoutVars>
      </dgm:prSet>
      <dgm:spPr/>
      <dgm:t>
        <a:bodyPr/>
        <a:lstStyle/>
        <a:p>
          <a:endParaRPr lang="en-US"/>
        </a:p>
      </dgm:t>
    </dgm:pt>
    <dgm:pt modelId="{9E0E5BD1-E8A0-E14D-B1E4-3F8E242ADB79}" type="pres">
      <dgm:prSet presAssocID="{C24837F0-AB71-2040-9D1B-F827AF894CCB}" presName="sibTrans" presStyleCnt="0"/>
      <dgm:spPr/>
    </dgm:pt>
    <dgm:pt modelId="{60B8511E-591E-D841-BB2F-44ADFA82F193}" type="pres">
      <dgm:prSet presAssocID="{7494374C-4A7D-6A4F-8B77-C6CF32BA68B4}" presName="node" presStyleLbl="alignAccFollowNode1" presStyleIdx="4" presStyleCnt="21" custLinFactNeighborY="-6625">
        <dgm:presLayoutVars>
          <dgm:bulletEnabled val="1"/>
        </dgm:presLayoutVars>
      </dgm:prSet>
      <dgm:spPr/>
      <dgm:t>
        <a:bodyPr/>
        <a:lstStyle/>
        <a:p>
          <a:endParaRPr lang="en-US"/>
        </a:p>
      </dgm:t>
    </dgm:pt>
    <dgm:pt modelId="{B66363E3-75DA-2C40-9AC3-E6F5CBF2FBAA}" type="pres">
      <dgm:prSet presAssocID="{0E4A5617-BF8E-E549-9EDD-81328364B485}" presName="sibTrans" presStyleCnt="0"/>
      <dgm:spPr/>
    </dgm:pt>
    <dgm:pt modelId="{57D7E1EE-F05C-314E-AD09-6BD2ED197FBA}" type="pres">
      <dgm:prSet presAssocID="{A3E57CB5-80D7-8441-993D-EA767C0A88B7}" presName="node" presStyleLbl="alignAccFollowNode1" presStyleIdx="5" presStyleCnt="21" custLinFactNeighborY="-6625">
        <dgm:presLayoutVars>
          <dgm:bulletEnabled val="1"/>
        </dgm:presLayoutVars>
      </dgm:prSet>
      <dgm:spPr/>
      <dgm:t>
        <a:bodyPr/>
        <a:lstStyle/>
        <a:p>
          <a:endParaRPr lang="en-US"/>
        </a:p>
      </dgm:t>
    </dgm:pt>
    <dgm:pt modelId="{6EA13C14-CED1-1346-B11D-D447B8970813}" type="pres">
      <dgm:prSet presAssocID="{404441A0-1951-2547-8BAB-3D03CEA4C362}" presName="vSp" presStyleCnt="0"/>
      <dgm:spPr/>
    </dgm:pt>
    <dgm:pt modelId="{4FC65CDA-9C00-2D4E-8E11-45198450081C}" type="pres">
      <dgm:prSet presAssocID="{E8EF5389-2A4C-7C40-95EE-52FE9F4071D5}" presName="horFlow" presStyleCnt="0"/>
      <dgm:spPr/>
    </dgm:pt>
    <dgm:pt modelId="{4A2FB9A1-9235-0949-83CA-D51F5DA99D72}" type="pres">
      <dgm:prSet presAssocID="{E8EF5389-2A4C-7C40-95EE-52FE9F4071D5}" presName="bigChev" presStyleLbl="node1" presStyleIdx="2" presStyleCnt="7" custScaleX="185250" custLinFactNeighborY="-11835"/>
      <dgm:spPr/>
      <dgm:t>
        <a:bodyPr/>
        <a:lstStyle/>
        <a:p>
          <a:endParaRPr lang="en-US"/>
        </a:p>
      </dgm:t>
    </dgm:pt>
    <dgm:pt modelId="{8A76E225-7C35-F740-AAD5-1A4CB970BCAA}" type="pres">
      <dgm:prSet presAssocID="{70FD4103-65AB-CA4D-B4A7-82B01180E102}" presName="parTrans" presStyleCnt="0"/>
      <dgm:spPr/>
    </dgm:pt>
    <dgm:pt modelId="{F42D4193-E4A6-5C48-8814-03F6A23DDF8C}" type="pres">
      <dgm:prSet presAssocID="{C7393124-0542-834F-B9D2-B5EDFCA60585}" presName="node" presStyleLbl="alignAccFollowNode1" presStyleIdx="6" presStyleCnt="21" custLinFactNeighborY="-14265">
        <dgm:presLayoutVars>
          <dgm:bulletEnabled val="1"/>
        </dgm:presLayoutVars>
      </dgm:prSet>
      <dgm:spPr/>
      <dgm:t>
        <a:bodyPr/>
        <a:lstStyle/>
        <a:p>
          <a:endParaRPr lang="en-US"/>
        </a:p>
      </dgm:t>
    </dgm:pt>
    <dgm:pt modelId="{04FB21D7-1DA8-E34A-9438-9ACA37741369}" type="pres">
      <dgm:prSet presAssocID="{B7F2FC8A-C83F-6242-ADCF-947B6A776A0C}" presName="sibTrans" presStyleCnt="0"/>
      <dgm:spPr/>
    </dgm:pt>
    <dgm:pt modelId="{FFCA4059-004D-CE44-B3A0-4F12FB805D6E}" type="pres">
      <dgm:prSet presAssocID="{8D548220-4304-6540-81E0-CC95A838AEEA}" presName="node" presStyleLbl="alignAccFollowNode1" presStyleIdx="7" presStyleCnt="21" custLinFactNeighborY="-14265">
        <dgm:presLayoutVars>
          <dgm:bulletEnabled val="1"/>
        </dgm:presLayoutVars>
      </dgm:prSet>
      <dgm:spPr/>
      <dgm:t>
        <a:bodyPr/>
        <a:lstStyle/>
        <a:p>
          <a:endParaRPr lang="en-US"/>
        </a:p>
      </dgm:t>
    </dgm:pt>
    <dgm:pt modelId="{50EB3352-4BBE-1F48-A36A-9CCEC2C8112A}" type="pres">
      <dgm:prSet presAssocID="{7CE26294-29A5-1F48-AFEF-DA1A056F036D}" presName="sibTrans" presStyleCnt="0"/>
      <dgm:spPr/>
    </dgm:pt>
    <dgm:pt modelId="{2151CF37-F830-5648-9885-B21EF9E9F740}" type="pres">
      <dgm:prSet presAssocID="{5E9FA387-F548-D641-A0A4-D5E112B87F16}" presName="node" presStyleLbl="alignAccFollowNode1" presStyleIdx="8" presStyleCnt="21" custLinFactNeighborY="-14265">
        <dgm:presLayoutVars>
          <dgm:bulletEnabled val="1"/>
        </dgm:presLayoutVars>
      </dgm:prSet>
      <dgm:spPr/>
      <dgm:t>
        <a:bodyPr/>
        <a:lstStyle/>
        <a:p>
          <a:endParaRPr lang="en-US"/>
        </a:p>
      </dgm:t>
    </dgm:pt>
    <dgm:pt modelId="{06F92DD1-93F9-6C44-A869-B2AF3438AD1B}" type="pres">
      <dgm:prSet presAssocID="{E8EF5389-2A4C-7C40-95EE-52FE9F4071D5}" presName="vSp" presStyleCnt="0"/>
      <dgm:spPr/>
    </dgm:pt>
    <dgm:pt modelId="{D3B974D0-B273-F943-8E8B-B741059CC77D}" type="pres">
      <dgm:prSet presAssocID="{D1A56047-8F44-BB4A-8508-9E95F2AA167D}" presName="horFlow" presStyleCnt="0"/>
      <dgm:spPr/>
    </dgm:pt>
    <dgm:pt modelId="{3B40A95D-B40B-944E-AC31-152B8D26C483}" type="pres">
      <dgm:prSet presAssocID="{D1A56047-8F44-BB4A-8508-9E95F2AA167D}" presName="bigChev" presStyleLbl="node1" presStyleIdx="3" presStyleCnt="7" custScaleX="185250"/>
      <dgm:spPr/>
      <dgm:t>
        <a:bodyPr/>
        <a:lstStyle/>
        <a:p>
          <a:endParaRPr lang="en-US"/>
        </a:p>
      </dgm:t>
    </dgm:pt>
    <dgm:pt modelId="{A3DC30C1-2BDD-B64B-9D4D-66FE82C2602F}" type="pres">
      <dgm:prSet presAssocID="{F5CC6838-EECB-434F-94FB-5E2A0356BF49}" presName="parTrans" presStyleCnt="0"/>
      <dgm:spPr/>
    </dgm:pt>
    <dgm:pt modelId="{15EBAC07-05B3-D747-8525-B9CC2BEA77DF}" type="pres">
      <dgm:prSet presAssocID="{C04951C9-CEFC-044B-B1B6-EAC4683B3DD8}" presName="node" presStyleLbl="alignAccFollowNode1" presStyleIdx="9" presStyleCnt="21">
        <dgm:presLayoutVars>
          <dgm:bulletEnabled val="1"/>
        </dgm:presLayoutVars>
      </dgm:prSet>
      <dgm:spPr/>
      <dgm:t>
        <a:bodyPr/>
        <a:lstStyle/>
        <a:p>
          <a:endParaRPr lang="en-US"/>
        </a:p>
      </dgm:t>
    </dgm:pt>
    <dgm:pt modelId="{51A280B6-60F7-414B-A584-10AE63D41041}" type="pres">
      <dgm:prSet presAssocID="{121A13E4-21BD-894A-82A4-40CB44E3F6F1}" presName="sibTrans" presStyleCnt="0"/>
      <dgm:spPr/>
    </dgm:pt>
    <dgm:pt modelId="{FF5DEEDD-500F-1945-8E75-6C705DBBF87F}" type="pres">
      <dgm:prSet presAssocID="{010DE923-D415-7446-856A-B95052FE3EA0}" presName="node" presStyleLbl="alignAccFollowNode1" presStyleIdx="10" presStyleCnt="21">
        <dgm:presLayoutVars>
          <dgm:bulletEnabled val="1"/>
        </dgm:presLayoutVars>
      </dgm:prSet>
      <dgm:spPr/>
      <dgm:t>
        <a:bodyPr/>
        <a:lstStyle/>
        <a:p>
          <a:endParaRPr lang="en-US"/>
        </a:p>
      </dgm:t>
    </dgm:pt>
    <dgm:pt modelId="{F838D61F-15C8-C745-B7AC-6996FBB7F72A}" type="pres">
      <dgm:prSet presAssocID="{30575426-7D78-704F-AA2F-FE5350660B2C}" presName="sibTrans" presStyleCnt="0"/>
      <dgm:spPr/>
    </dgm:pt>
    <dgm:pt modelId="{1EDD6CE2-433A-2840-803B-67E257C113FA}" type="pres">
      <dgm:prSet presAssocID="{630140DD-8BBF-964D-80B9-4F4491788828}" presName="node" presStyleLbl="alignAccFollowNode1" presStyleIdx="11" presStyleCnt="21">
        <dgm:presLayoutVars>
          <dgm:bulletEnabled val="1"/>
        </dgm:presLayoutVars>
      </dgm:prSet>
      <dgm:spPr/>
      <dgm:t>
        <a:bodyPr/>
        <a:lstStyle/>
        <a:p>
          <a:endParaRPr lang="en-US"/>
        </a:p>
      </dgm:t>
    </dgm:pt>
    <dgm:pt modelId="{E792EED2-D497-1448-BAA4-9C213FED4002}" type="pres">
      <dgm:prSet presAssocID="{D1A56047-8F44-BB4A-8508-9E95F2AA167D}" presName="vSp" presStyleCnt="0"/>
      <dgm:spPr/>
    </dgm:pt>
    <dgm:pt modelId="{9A248D73-2168-F042-991D-5BBBCE144750}" type="pres">
      <dgm:prSet presAssocID="{E3E69E88-21C0-2A47-8D7B-480E79EB974B}" presName="horFlow" presStyleCnt="0"/>
      <dgm:spPr/>
    </dgm:pt>
    <dgm:pt modelId="{4031A59A-27F5-B04F-BC0C-A029114E53A5}" type="pres">
      <dgm:prSet presAssocID="{E3E69E88-21C0-2A47-8D7B-480E79EB974B}" presName="bigChev" presStyleLbl="node1" presStyleIdx="4" presStyleCnt="7" custScaleX="185250"/>
      <dgm:spPr/>
      <dgm:t>
        <a:bodyPr/>
        <a:lstStyle/>
        <a:p>
          <a:endParaRPr lang="en-US"/>
        </a:p>
      </dgm:t>
    </dgm:pt>
    <dgm:pt modelId="{4A346251-7E6C-A74F-A8D0-F5D499ADB11D}" type="pres">
      <dgm:prSet presAssocID="{E719A459-8B92-AB46-A320-E834CFF7E7C6}" presName="parTrans" presStyleCnt="0"/>
      <dgm:spPr/>
    </dgm:pt>
    <dgm:pt modelId="{171C45A2-4265-734B-914E-BF43AB31D2DF}" type="pres">
      <dgm:prSet presAssocID="{39C56FD4-960D-0245-8204-55DCF05963FD}" presName="node" presStyleLbl="alignAccFollowNode1" presStyleIdx="12" presStyleCnt="21">
        <dgm:presLayoutVars>
          <dgm:bulletEnabled val="1"/>
        </dgm:presLayoutVars>
      </dgm:prSet>
      <dgm:spPr/>
      <dgm:t>
        <a:bodyPr/>
        <a:lstStyle/>
        <a:p>
          <a:endParaRPr lang="en-US"/>
        </a:p>
      </dgm:t>
    </dgm:pt>
    <dgm:pt modelId="{A77C1352-0DCD-C04B-87C9-EC987E5B1A76}" type="pres">
      <dgm:prSet presAssocID="{5E819A8F-D820-C84E-A37A-9D2BE3BBE07A}" presName="sibTrans" presStyleCnt="0"/>
      <dgm:spPr/>
    </dgm:pt>
    <dgm:pt modelId="{7663A885-E389-164D-B128-8679BE02EAF1}" type="pres">
      <dgm:prSet presAssocID="{C61C8964-ADDE-7C4C-BF1D-A30812D98A45}" presName="node" presStyleLbl="alignAccFollowNode1" presStyleIdx="13" presStyleCnt="21">
        <dgm:presLayoutVars>
          <dgm:bulletEnabled val="1"/>
        </dgm:presLayoutVars>
      </dgm:prSet>
      <dgm:spPr/>
      <dgm:t>
        <a:bodyPr/>
        <a:lstStyle/>
        <a:p>
          <a:endParaRPr lang="en-US"/>
        </a:p>
      </dgm:t>
    </dgm:pt>
    <dgm:pt modelId="{121B5ADC-DBFA-6043-8FBC-F278A7F110F2}" type="pres">
      <dgm:prSet presAssocID="{3ABFE773-6E4A-BF4A-9EE1-55941C5C876D}" presName="sibTrans" presStyleCnt="0"/>
      <dgm:spPr/>
    </dgm:pt>
    <dgm:pt modelId="{D405C125-5B67-2246-8D0E-5786B44DE0AD}" type="pres">
      <dgm:prSet presAssocID="{FD8E23E9-209A-704B-8216-3A439E681B9D}" presName="node" presStyleLbl="alignAccFollowNode1" presStyleIdx="14" presStyleCnt="21">
        <dgm:presLayoutVars>
          <dgm:bulletEnabled val="1"/>
        </dgm:presLayoutVars>
      </dgm:prSet>
      <dgm:spPr/>
      <dgm:t>
        <a:bodyPr/>
        <a:lstStyle/>
        <a:p>
          <a:endParaRPr lang="en-US"/>
        </a:p>
      </dgm:t>
    </dgm:pt>
    <dgm:pt modelId="{85A1E6D6-6178-AE4E-B72E-57C10034C15C}" type="pres">
      <dgm:prSet presAssocID="{E3E69E88-21C0-2A47-8D7B-480E79EB974B}" presName="vSp" presStyleCnt="0"/>
      <dgm:spPr/>
    </dgm:pt>
    <dgm:pt modelId="{AFC45BA4-ED16-5740-AA9C-7E01F90A3600}" type="pres">
      <dgm:prSet presAssocID="{29361876-AAF5-CC4A-8C6B-CDBECCE4EB70}" presName="horFlow" presStyleCnt="0"/>
      <dgm:spPr/>
    </dgm:pt>
    <dgm:pt modelId="{42C45591-EB23-3F45-B63C-79B3C943D688}" type="pres">
      <dgm:prSet presAssocID="{29361876-AAF5-CC4A-8C6B-CDBECCE4EB70}" presName="bigChev" presStyleLbl="node1" presStyleIdx="5" presStyleCnt="7" custScaleX="185250"/>
      <dgm:spPr/>
      <dgm:t>
        <a:bodyPr/>
        <a:lstStyle/>
        <a:p>
          <a:endParaRPr lang="en-US"/>
        </a:p>
      </dgm:t>
    </dgm:pt>
    <dgm:pt modelId="{7C8500CB-88F6-B94A-99D6-97D73BEFAD4C}" type="pres">
      <dgm:prSet presAssocID="{BF3F127D-5B5F-1A47-B00B-CF806A5B6AC5}" presName="parTrans" presStyleCnt="0"/>
      <dgm:spPr/>
    </dgm:pt>
    <dgm:pt modelId="{2D0149C7-3A07-2940-8143-227FD5D40F59}" type="pres">
      <dgm:prSet presAssocID="{E1843186-0D8D-7B4D-8347-43DAC8D67F12}" presName="node" presStyleLbl="alignAccFollowNode1" presStyleIdx="15" presStyleCnt="21">
        <dgm:presLayoutVars>
          <dgm:bulletEnabled val="1"/>
        </dgm:presLayoutVars>
      </dgm:prSet>
      <dgm:spPr/>
      <dgm:t>
        <a:bodyPr/>
        <a:lstStyle/>
        <a:p>
          <a:endParaRPr lang="en-US"/>
        </a:p>
      </dgm:t>
    </dgm:pt>
    <dgm:pt modelId="{6A2BCF9D-8BB9-8E4A-83F7-4C8D9D11DCB7}" type="pres">
      <dgm:prSet presAssocID="{36843647-EAC4-5248-8DC2-DA098E131C2C}" presName="sibTrans" presStyleCnt="0"/>
      <dgm:spPr/>
    </dgm:pt>
    <dgm:pt modelId="{88AC32BE-C9DA-A742-8963-D99D3F453246}" type="pres">
      <dgm:prSet presAssocID="{882BAAF5-ABA9-B644-97A7-479FD25F3754}" presName="node" presStyleLbl="alignAccFollowNode1" presStyleIdx="16" presStyleCnt="21">
        <dgm:presLayoutVars>
          <dgm:bulletEnabled val="1"/>
        </dgm:presLayoutVars>
      </dgm:prSet>
      <dgm:spPr/>
      <dgm:t>
        <a:bodyPr/>
        <a:lstStyle/>
        <a:p>
          <a:endParaRPr lang="en-US"/>
        </a:p>
      </dgm:t>
    </dgm:pt>
    <dgm:pt modelId="{ABB2D371-9C8C-EF42-A39A-834F5E3455C7}" type="pres">
      <dgm:prSet presAssocID="{55C3E6FC-4436-3449-A9A7-406389FF9120}" presName="sibTrans" presStyleCnt="0"/>
      <dgm:spPr/>
    </dgm:pt>
    <dgm:pt modelId="{11C3272A-76B9-7448-B450-0D8FE104AA3D}" type="pres">
      <dgm:prSet presAssocID="{7518AA7F-4737-3742-BC05-05769876D68E}" presName="node" presStyleLbl="alignAccFollowNode1" presStyleIdx="17" presStyleCnt="21">
        <dgm:presLayoutVars>
          <dgm:bulletEnabled val="1"/>
        </dgm:presLayoutVars>
      </dgm:prSet>
      <dgm:spPr/>
      <dgm:t>
        <a:bodyPr/>
        <a:lstStyle/>
        <a:p>
          <a:endParaRPr lang="en-US"/>
        </a:p>
      </dgm:t>
    </dgm:pt>
    <dgm:pt modelId="{A01D2F39-9D51-5043-ADEC-C211C2C8F054}" type="pres">
      <dgm:prSet presAssocID="{29361876-AAF5-CC4A-8C6B-CDBECCE4EB70}" presName="vSp" presStyleCnt="0"/>
      <dgm:spPr/>
    </dgm:pt>
    <dgm:pt modelId="{0861BB9C-3CF3-C447-8C16-0C9452259F3D}" type="pres">
      <dgm:prSet presAssocID="{1CDBACD7-E97C-8C40-BD5C-91D44531FBB9}" presName="horFlow" presStyleCnt="0"/>
      <dgm:spPr/>
    </dgm:pt>
    <dgm:pt modelId="{947F4C9E-7F20-6345-94DB-2E23ACCCF372}" type="pres">
      <dgm:prSet presAssocID="{1CDBACD7-E97C-8C40-BD5C-91D44531FBB9}" presName="bigChev" presStyleLbl="node1" presStyleIdx="6" presStyleCnt="7" custScaleX="185250"/>
      <dgm:spPr/>
      <dgm:t>
        <a:bodyPr/>
        <a:lstStyle/>
        <a:p>
          <a:endParaRPr lang="en-US"/>
        </a:p>
      </dgm:t>
    </dgm:pt>
    <dgm:pt modelId="{BE11DAEB-4394-6B4B-B0E8-0F99511319D1}" type="pres">
      <dgm:prSet presAssocID="{E3D2E6EC-B9FA-9444-B4C3-3516BA1E606C}" presName="parTrans" presStyleCnt="0"/>
      <dgm:spPr/>
    </dgm:pt>
    <dgm:pt modelId="{03803A47-89AD-1241-8354-A7546298D963}" type="pres">
      <dgm:prSet presAssocID="{B644E403-3CF7-BE45-98C3-BEF62E68E115}" presName="node" presStyleLbl="alignAccFollowNode1" presStyleIdx="18" presStyleCnt="21">
        <dgm:presLayoutVars>
          <dgm:bulletEnabled val="1"/>
        </dgm:presLayoutVars>
      </dgm:prSet>
      <dgm:spPr/>
      <dgm:t>
        <a:bodyPr/>
        <a:lstStyle/>
        <a:p>
          <a:endParaRPr lang="en-US"/>
        </a:p>
      </dgm:t>
    </dgm:pt>
    <dgm:pt modelId="{55CDFC51-924E-624F-8B26-D54ADC97DE36}" type="pres">
      <dgm:prSet presAssocID="{F18E03BE-0F13-1E41-82A6-FCED1A51B4F2}" presName="sibTrans" presStyleCnt="0"/>
      <dgm:spPr/>
    </dgm:pt>
    <dgm:pt modelId="{B30BF1C3-F7E3-A444-AAEE-DF156077A030}" type="pres">
      <dgm:prSet presAssocID="{F43A69C8-3CAB-C149-A981-649B17817BFF}" presName="node" presStyleLbl="alignAccFollowNode1" presStyleIdx="19" presStyleCnt="21">
        <dgm:presLayoutVars>
          <dgm:bulletEnabled val="1"/>
        </dgm:presLayoutVars>
      </dgm:prSet>
      <dgm:spPr/>
      <dgm:t>
        <a:bodyPr/>
        <a:lstStyle/>
        <a:p>
          <a:endParaRPr lang="en-US"/>
        </a:p>
      </dgm:t>
    </dgm:pt>
    <dgm:pt modelId="{459BB271-5C0A-964B-8FF6-9DD55318CD49}" type="pres">
      <dgm:prSet presAssocID="{A3C08EA4-1399-D044-A9D6-670D01116C56}" presName="sibTrans" presStyleCnt="0"/>
      <dgm:spPr/>
    </dgm:pt>
    <dgm:pt modelId="{0A713571-47C9-A946-B88D-EFDE794A555E}" type="pres">
      <dgm:prSet presAssocID="{5BFB7A79-C94E-854C-901E-20B19F4FED26}" presName="node" presStyleLbl="alignAccFollowNode1" presStyleIdx="20" presStyleCnt="21">
        <dgm:presLayoutVars>
          <dgm:bulletEnabled val="1"/>
        </dgm:presLayoutVars>
      </dgm:prSet>
      <dgm:spPr/>
      <dgm:t>
        <a:bodyPr/>
        <a:lstStyle/>
        <a:p>
          <a:endParaRPr lang="en-US"/>
        </a:p>
      </dgm:t>
    </dgm:pt>
  </dgm:ptLst>
  <dgm:cxnLst>
    <dgm:cxn modelId="{F9841244-77B1-C34A-8AF0-E0BE0B868927}" type="presOf" srcId="{E8EF5389-2A4C-7C40-95EE-52FE9F4071D5}" destId="{4A2FB9A1-9235-0949-83CA-D51F5DA99D72}" srcOrd="0" destOrd="0" presId="urn:microsoft.com/office/officeart/2005/8/layout/lProcess3"/>
    <dgm:cxn modelId="{12BC990E-A390-9A47-B7B4-685216660573}" srcId="{6D511EB3-CFF1-E140-80AB-FBBE9C6F96F6}" destId="{5E896CCB-6C5B-0740-BFC4-77F280FC8378}" srcOrd="0" destOrd="0" parTransId="{CB4CEE76-CCA9-714D-8E35-D61209A5C5E1}" sibTransId="{29044E54-EC68-534C-B3D8-1DF9682CF3A5}"/>
    <dgm:cxn modelId="{E910A7F6-0D91-8A4D-9104-9F5391264B2A}" srcId="{D1A56047-8F44-BB4A-8508-9E95F2AA167D}" destId="{630140DD-8BBF-964D-80B9-4F4491788828}" srcOrd="2" destOrd="0" parTransId="{D982BBA6-4367-8149-B0F3-5F28F08C5D78}" sibTransId="{9B1A4574-ACCD-1C4D-99E1-1C11F254F97C}"/>
    <dgm:cxn modelId="{906F1F6C-E811-2D4B-A182-58A776980B23}" srcId="{D1A56047-8F44-BB4A-8508-9E95F2AA167D}" destId="{C04951C9-CEFC-044B-B1B6-EAC4683B3DD8}" srcOrd="0" destOrd="0" parTransId="{F5CC6838-EECB-434F-94FB-5E2A0356BF49}" sibTransId="{121A13E4-21BD-894A-82A4-40CB44E3F6F1}"/>
    <dgm:cxn modelId="{FB6DA3B0-AAF4-D047-8882-B9E315720BE3}" srcId="{404441A0-1951-2547-8BAB-3D03CEA4C362}" destId="{7494374C-4A7D-6A4F-8B77-C6CF32BA68B4}" srcOrd="1" destOrd="0" parTransId="{29FC4156-3F56-4447-9395-E7ABC21AC431}" sibTransId="{0E4A5617-BF8E-E549-9EDD-81328364B485}"/>
    <dgm:cxn modelId="{A9FA7CDF-575B-1143-A42D-39F4E834829C}" srcId="{29361876-AAF5-CC4A-8C6B-CDBECCE4EB70}" destId="{E1843186-0D8D-7B4D-8347-43DAC8D67F12}" srcOrd="0" destOrd="0" parTransId="{BF3F127D-5B5F-1A47-B00B-CF806A5B6AC5}" sibTransId="{36843647-EAC4-5248-8DC2-DA098E131C2C}"/>
    <dgm:cxn modelId="{C48876F4-4A9E-A74E-ADC9-A2A899AA7FD8}" type="presOf" srcId="{C7393124-0542-834F-B9D2-B5EDFCA60585}" destId="{F42D4193-E4A6-5C48-8814-03F6A23DDF8C}" srcOrd="0" destOrd="0" presId="urn:microsoft.com/office/officeart/2005/8/layout/lProcess3"/>
    <dgm:cxn modelId="{685FC8AB-CF20-424F-A499-EA95FCE92D02}" srcId="{D1A56047-8F44-BB4A-8508-9E95F2AA167D}" destId="{010DE923-D415-7446-856A-B95052FE3EA0}" srcOrd="1" destOrd="0" parTransId="{2014DAE5-3FC1-2A47-9F41-7AFBA6CD7797}" sibTransId="{30575426-7D78-704F-AA2F-FE5350660B2C}"/>
    <dgm:cxn modelId="{3FA29ABD-85DE-104C-AE3A-04FF005E4065}" srcId="{5E896CCB-6C5B-0740-BFC4-77F280FC8378}" destId="{180C0CD0-B245-E844-96A0-1BF36D5B8158}" srcOrd="0" destOrd="0" parTransId="{EB7580AF-CC55-AA4E-8C64-8C5679A18BA4}" sibTransId="{616DB9A2-ED55-3E4E-90D8-7F16344188D5}"/>
    <dgm:cxn modelId="{4F86734B-FA49-2D44-9424-867861A70B51}" type="presOf" srcId="{D1A56047-8F44-BB4A-8508-9E95F2AA167D}" destId="{3B40A95D-B40B-944E-AC31-152B8D26C483}" srcOrd="0" destOrd="0" presId="urn:microsoft.com/office/officeart/2005/8/layout/lProcess3"/>
    <dgm:cxn modelId="{026C808A-8C0E-9E4A-8CB0-9A772DC71F69}" type="presOf" srcId="{5E9FA387-F548-D641-A0A4-D5E112B87F16}" destId="{2151CF37-F830-5648-9885-B21EF9E9F740}" srcOrd="0" destOrd="0" presId="urn:microsoft.com/office/officeart/2005/8/layout/lProcess3"/>
    <dgm:cxn modelId="{2AA0B151-C40F-E04B-8C8F-D887AB1DAF8C}" srcId="{1CDBACD7-E97C-8C40-BD5C-91D44531FBB9}" destId="{5BFB7A79-C94E-854C-901E-20B19F4FED26}" srcOrd="2" destOrd="0" parTransId="{F8BCC15B-6686-E048-9D16-E324419E87C4}" sibTransId="{7ED3C723-B2A8-3945-8E45-4D73A8E9547C}"/>
    <dgm:cxn modelId="{F3F391B0-3CBB-4A4C-BA29-B17537CEA989}" type="presOf" srcId="{FD8E23E9-209A-704B-8216-3A439E681B9D}" destId="{D405C125-5B67-2246-8D0E-5786B44DE0AD}" srcOrd="0" destOrd="0" presId="urn:microsoft.com/office/officeart/2005/8/layout/lProcess3"/>
    <dgm:cxn modelId="{F79D61AA-D558-DF4F-87F0-F202F777F7C6}" type="presOf" srcId="{C04951C9-CEFC-044B-B1B6-EAC4683B3DD8}" destId="{15EBAC07-05B3-D747-8525-B9CC2BEA77DF}" srcOrd="0" destOrd="0" presId="urn:microsoft.com/office/officeart/2005/8/layout/lProcess3"/>
    <dgm:cxn modelId="{9CCCCFED-1044-F345-A281-7D54700ECD20}" type="presOf" srcId="{356FD089-9E3C-8F4A-903F-35E5072EDA7F}" destId="{31CACEB6-9FD5-8C4B-8B65-122296461EA4}" srcOrd="0" destOrd="0" presId="urn:microsoft.com/office/officeart/2005/8/layout/lProcess3"/>
    <dgm:cxn modelId="{5D7C6883-BC60-6642-B0E7-3EB20BADC4D6}" srcId="{29361876-AAF5-CC4A-8C6B-CDBECCE4EB70}" destId="{882BAAF5-ABA9-B644-97A7-479FD25F3754}" srcOrd="1" destOrd="0" parTransId="{03056AA3-39F0-F240-8F54-8B6E8FA24C2F}" sibTransId="{55C3E6FC-4436-3449-A9A7-406389FF9120}"/>
    <dgm:cxn modelId="{4BE7DF77-1845-924E-ACE9-7E88CA76EC12}" type="presOf" srcId="{630140DD-8BBF-964D-80B9-4F4491788828}" destId="{1EDD6CE2-433A-2840-803B-67E257C113FA}" srcOrd="0" destOrd="0" presId="urn:microsoft.com/office/officeart/2005/8/layout/lProcess3"/>
    <dgm:cxn modelId="{65F5AA2D-7BE1-6143-AF00-0C8F9BA1355E}" type="presOf" srcId="{882BAAF5-ABA9-B644-97A7-479FD25F3754}" destId="{88AC32BE-C9DA-A742-8963-D99D3F453246}" srcOrd="0" destOrd="0" presId="urn:microsoft.com/office/officeart/2005/8/layout/lProcess3"/>
    <dgm:cxn modelId="{471204DD-1509-4143-9B4B-7E3B3260742F}" type="presOf" srcId="{E1843186-0D8D-7B4D-8347-43DAC8D67F12}" destId="{2D0149C7-3A07-2940-8143-227FD5D40F59}" srcOrd="0" destOrd="0" presId="urn:microsoft.com/office/officeart/2005/8/layout/lProcess3"/>
    <dgm:cxn modelId="{EB92C1C3-60D5-AB47-857A-B21A4CF54B80}" srcId="{E8EF5389-2A4C-7C40-95EE-52FE9F4071D5}" destId="{5E9FA387-F548-D641-A0A4-D5E112B87F16}" srcOrd="2" destOrd="0" parTransId="{849729DC-FE38-7342-989C-4877D8A6C03F}" sibTransId="{3D118B0F-C53D-B142-9AAD-D35E8CD62613}"/>
    <dgm:cxn modelId="{D26EA508-B5FE-8144-AC44-6285B99970B1}" srcId="{E3E69E88-21C0-2A47-8D7B-480E79EB974B}" destId="{C61C8964-ADDE-7C4C-BF1D-A30812D98A45}" srcOrd="1" destOrd="0" parTransId="{15EEF632-1878-BA43-BC95-74F5575F30F8}" sibTransId="{3ABFE773-6E4A-BF4A-9EE1-55941C5C876D}"/>
    <dgm:cxn modelId="{2D69D2C6-71AD-0049-B897-D6B9CD1494F3}" type="presOf" srcId="{404441A0-1951-2547-8BAB-3D03CEA4C362}" destId="{775A69E5-2BBF-614F-AFDD-D0A3D0362508}" srcOrd="0" destOrd="0" presId="urn:microsoft.com/office/officeart/2005/8/layout/lProcess3"/>
    <dgm:cxn modelId="{2296DE67-2C02-D74D-B46D-0324341E2C7C}" srcId="{5E896CCB-6C5B-0740-BFC4-77F280FC8378}" destId="{FE29BC9B-6102-C545-90C9-2C7FE3B40035}" srcOrd="2" destOrd="0" parTransId="{774847DD-FFEF-3048-8879-EED1AFFE2E64}" sibTransId="{BB52DC75-E0E4-E44F-9716-1DFB2500B224}"/>
    <dgm:cxn modelId="{586AD671-37A5-6447-B115-982DB6158113}" type="presOf" srcId="{A3E57CB5-80D7-8441-993D-EA767C0A88B7}" destId="{57D7E1EE-F05C-314E-AD09-6BD2ED197FBA}" srcOrd="0" destOrd="0" presId="urn:microsoft.com/office/officeart/2005/8/layout/lProcess3"/>
    <dgm:cxn modelId="{5CE4C5D4-644D-A04B-BAD8-F3E0BB86898E}" srcId="{6D511EB3-CFF1-E140-80AB-FBBE9C6F96F6}" destId="{D1A56047-8F44-BB4A-8508-9E95F2AA167D}" srcOrd="3" destOrd="0" parTransId="{7E9E2B6B-A546-2C48-8375-0DAC1D2F4E1D}" sibTransId="{5F771C51-ECDC-0840-8569-0D919494A6D9}"/>
    <dgm:cxn modelId="{4141D20D-51D8-4C40-A79D-DD747396C9A8}" srcId="{29361876-AAF5-CC4A-8C6B-CDBECCE4EB70}" destId="{7518AA7F-4737-3742-BC05-05769876D68E}" srcOrd="2" destOrd="0" parTransId="{E67F78EC-62E7-0B43-A6C9-2AF7D2685315}" sibTransId="{F2301B08-F23E-5542-8CE0-DE5907A22BAF}"/>
    <dgm:cxn modelId="{8820A6D1-FAD5-9547-97F7-50B2446F9672}" srcId="{E8EF5389-2A4C-7C40-95EE-52FE9F4071D5}" destId="{8D548220-4304-6540-81E0-CC95A838AEEA}" srcOrd="1" destOrd="0" parTransId="{D325330E-6ACE-4B40-88FC-30872B7FC4DD}" sibTransId="{7CE26294-29A5-1F48-AFEF-DA1A056F036D}"/>
    <dgm:cxn modelId="{4ADD202D-CF7E-3745-96B7-85ACD94054F8}" srcId="{E3E69E88-21C0-2A47-8D7B-480E79EB974B}" destId="{FD8E23E9-209A-704B-8216-3A439E681B9D}" srcOrd="2" destOrd="0" parTransId="{41F781DA-023A-0340-8754-94E6999A3141}" sibTransId="{D5FD1F4A-318D-A547-9F37-705AB61054F3}"/>
    <dgm:cxn modelId="{E6066FBE-2873-0644-9E7A-5626689227AE}" srcId="{404441A0-1951-2547-8BAB-3D03CEA4C362}" destId="{A3E57CB5-80D7-8441-993D-EA767C0A88B7}" srcOrd="2" destOrd="0" parTransId="{869BF765-EFAB-1B48-9F1B-F0B48C7DC796}" sibTransId="{00557C0D-821F-594B-8C7F-4461C338AB97}"/>
    <dgm:cxn modelId="{D6B12C80-CB85-0A47-84F5-462766C0085B}" srcId="{6D511EB3-CFF1-E140-80AB-FBBE9C6F96F6}" destId="{E3E69E88-21C0-2A47-8D7B-480E79EB974B}" srcOrd="4" destOrd="0" parTransId="{9630A591-6AB8-954A-8925-61C3F0530A9E}" sibTransId="{785E8840-23B5-1A4F-B3CB-866545EAD129}"/>
    <dgm:cxn modelId="{62A82B98-2F4E-4C44-A49C-56D9153684AF}" srcId="{E8EF5389-2A4C-7C40-95EE-52FE9F4071D5}" destId="{C7393124-0542-834F-B9D2-B5EDFCA60585}" srcOrd="0" destOrd="0" parTransId="{70FD4103-65AB-CA4D-B4A7-82B01180E102}" sibTransId="{B7F2FC8A-C83F-6242-ADCF-947B6A776A0C}"/>
    <dgm:cxn modelId="{495CD4C1-692D-244F-9E75-7BAD033D0884}" type="presOf" srcId="{29361876-AAF5-CC4A-8C6B-CDBECCE4EB70}" destId="{42C45591-EB23-3F45-B63C-79B3C943D688}" srcOrd="0" destOrd="0" presId="urn:microsoft.com/office/officeart/2005/8/layout/lProcess3"/>
    <dgm:cxn modelId="{1064C0D0-E270-D546-9570-BE2BA647F6F0}" type="presOf" srcId="{39C56FD4-960D-0245-8204-55DCF05963FD}" destId="{171C45A2-4265-734B-914E-BF43AB31D2DF}" srcOrd="0" destOrd="0" presId="urn:microsoft.com/office/officeart/2005/8/layout/lProcess3"/>
    <dgm:cxn modelId="{90095179-D225-1546-9F48-60D7F83341B2}" type="presOf" srcId="{5E896CCB-6C5B-0740-BFC4-77F280FC8378}" destId="{C145CC1E-B6B6-1844-8E31-7ABFA13C52F0}" srcOrd="0" destOrd="0" presId="urn:microsoft.com/office/officeart/2005/8/layout/lProcess3"/>
    <dgm:cxn modelId="{F347B317-A485-C946-9519-0F0A035AF5E5}" type="presOf" srcId="{C61C8964-ADDE-7C4C-BF1D-A30812D98A45}" destId="{7663A885-E389-164D-B128-8679BE02EAF1}" srcOrd="0" destOrd="0" presId="urn:microsoft.com/office/officeart/2005/8/layout/lProcess3"/>
    <dgm:cxn modelId="{39E8C2C2-9FF7-6541-8C7A-67B8353A3768}" srcId="{6D511EB3-CFF1-E140-80AB-FBBE9C6F96F6}" destId="{404441A0-1951-2547-8BAB-3D03CEA4C362}" srcOrd="1" destOrd="0" parTransId="{476AB3A3-E047-AD4C-BAF1-9D73491AA742}" sibTransId="{CA354444-9EFE-8F45-9AB7-E8E272B62706}"/>
    <dgm:cxn modelId="{0E2ACBD3-87C5-434D-AD01-413E8542FBC2}" type="presOf" srcId="{6D511EB3-CFF1-E140-80AB-FBBE9C6F96F6}" destId="{CAD6D5E5-0B06-B246-A841-5578FDB923C0}" srcOrd="0" destOrd="0" presId="urn:microsoft.com/office/officeart/2005/8/layout/lProcess3"/>
    <dgm:cxn modelId="{E10A96C0-23D1-1F48-979D-1D6A99EF9C81}" type="presOf" srcId="{8D548220-4304-6540-81E0-CC95A838AEEA}" destId="{FFCA4059-004D-CE44-B3A0-4F12FB805D6E}" srcOrd="0" destOrd="0" presId="urn:microsoft.com/office/officeart/2005/8/layout/lProcess3"/>
    <dgm:cxn modelId="{610D9D39-B3CB-124A-B1BE-A16585C6AA8D}" srcId="{E3E69E88-21C0-2A47-8D7B-480E79EB974B}" destId="{39C56FD4-960D-0245-8204-55DCF05963FD}" srcOrd="0" destOrd="0" parTransId="{E719A459-8B92-AB46-A320-E834CFF7E7C6}" sibTransId="{5E819A8F-D820-C84E-A37A-9D2BE3BBE07A}"/>
    <dgm:cxn modelId="{CD950E7D-1595-4D49-8C8B-310D1440D775}" srcId="{5E896CCB-6C5B-0740-BFC4-77F280FC8378}" destId="{ADE3E679-06CC-AA4B-BB6F-5773B9E6BE48}" srcOrd="1" destOrd="0" parTransId="{49142766-2FA2-8141-96C7-8BD05B2E9BF0}" sibTransId="{3DF93A5B-9514-6340-BDAB-7113398B5B69}"/>
    <dgm:cxn modelId="{C52A0AAF-44B9-9944-9DD5-5EC7C79CF140}" srcId="{1CDBACD7-E97C-8C40-BD5C-91D44531FBB9}" destId="{B644E403-3CF7-BE45-98C3-BEF62E68E115}" srcOrd="0" destOrd="0" parTransId="{E3D2E6EC-B9FA-9444-B4C3-3516BA1E606C}" sibTransId="{F18E03BE-0F13-1E41-82A6-FCED1A51B4F2}"/>
    <dgm:cxn modelId="{5F2D502E-A941-8D46-83AD-FA17CF82C998}" srcId="{6D511EB3-CFF1-E140-80AB-FBBE9C6F96F6}" destId="{1CDBACD7-E97C-8C40-BD5C-91D44531FBB9}" srcOrd="6" destOrd="0" parTransId="{B44C0F54-7D48-3B45-97F5-507D8FF7C71F}" sibTransId="{6DACE881-D388-BD40-B987-1AA38F341C8F}"/>
    <dgm:cxn modelId="{ABD4C6CB-8597-BA45-891F-B1BC7C8B8070}" type="presOf" srcId="{180C0CD0-B245-E844-96A0-1BF36D5B8158}" destId="{F53FCBDF-BAD6-4545-88E5-98E8F514FE30}" srcOrd="0" destOrd="0" presId="urn:microsoft.com/office/officeart/2005/8/layout/lProcess3"/>
    <dgm:cxn modelId="{40F7D2DD-6F3C-1B47-8609-5D403BB1642C}" type="presOf" srcId="{010DE923-D415-7446-856A-B95052FE3EA0}" destId="{FF5DEEDD-500F-1945-8E75-6C705DBBF87F}" srcOrd="0" destOrd="0" presId="urn:microsoft.com/office/officeart/2005/8/layout/lProcess3"/>
    <dgm:cxn modelId="{B2B0560D-58EA-CC48-8FA8-2E089D0B098A}" type="presOf" srcId="{FE29BC9B-6102-C545-90C9-2C7FE3B40035}" destId="{A4F3D06D-9777-1C47-9E7B-3D46B4F66A66}" srcOrd="0" destOrd="0" presId="urn:microsoft.com/office/officeart/2005/8/layout/lProcess3"/>
    <dgm:cxn modelId="{AFFA69A5-77F8-544B-B95C-6891A6C90520}" srcId="{404441A0-1951-2547-8BAB-3D03CEA4C362}" destId="{356FD089-9E3C-8F4A-903F-35E5072EDA7F}" srcOrd="0" destOrd="0" parTransId="{B45E1C76-F2DE-5C4A-B7DC-FD90AACE113A}" sibTransId="{C24837F0-AB71-2040-9D1B-F827AF894CCB}"/>
    <dgm:cxn modelId="{09A95CA9-4929-C84A-BBD9-61CFFAD4A456}" type="presOf" srcId="{ADE3E679-06CC-AA4B-BB6F-5773B9E6BE48}" destId="{197E642F-5114-0F43-96CC-5BDF0583DC57}" srcOrd="0" destOrd="0" presId="urn:microsoft.com/office/officeart/2005/8/layout/lProcess3"/>
    <dgm:cxn modelId="{2FB692EF-0C59-D04D-B790-2BE8504214F2}" type="presOf" srcId="{1CDBACD7-E97C-8C40-BD5C-91D44531FBB9}" destId="{947F4C9E-7F20-6345-94DB-2E23ACCCF372}" srcOrd="0" destOrd="0" presId="urn:microsoft.com/office/officeart/2005/8/layout/lProcess3"/>
    <dgm:cxn modelId="{D891D2EB-A874-524D-B967-B7E2753AE896}" srcId="{1CDBACD7-E97C-8C40-BD5C-91D44531FBB9}" destId="{F43A69C8-3CAB-C149-A981-649B17817BFF}" srcOrd="1" destOrd="0" parTransId="{B05BD843-35B6-F246-A2A7-C218A083D6F0}" sibTransId="{A3C08EA4-1399-D044-A9D6-670D01116C56}"/>
    <dgm:cxn modelId="{5A1937B0-8E57-F04C-BBF6-EC41259D3BCB}" srcId="{6D511EB3-CFF1-E140-80AB-FBBE9C6F96F6}" destId="{E8EF5389-2A4C-7C40-95EE-52FE9F4071D5}" srcOrd="2" destOrd="0" parTransId="{344EC982-3F27-544C-A9CD-C365DC95A146}" sibTransId="{471AB678-F120-1645-85AF-55EC44B9C999}"/>
    <dgm:cxn modelId="{68BC6260-E02B-124B-80DD-3AE4EE591735}" type="presOf" srcId="{5BFB7A79-C94E-854C-901E-20B19F4FED26}" destId="{0A713571-47C9-A946-B88D-EFDE794A555E}" srcOrd="0" destOrd="0" presId="urn:microsoft.com/office/officeart/2005/8/layout/lProcess3"/>
    <dgm:cxn modelId="{93367E19-0562-B94D-8393-845783C155ED}" type="presOf" srcId="{7494374C-4A7D-6A4F-8B77-C6CF32BA68B4}" destId="{60B8511E-591E-D841-BB2F-44ADFA82F193}" srcOrd="0" destOrd="0" presId="urn:microsoft.com/office/officeart/2005/8/layout/lProcess3"/>
    <dgm:cxn modelId="{93951203-AE18-0A4E-AB5F-74811C548711}" type="presOf" srcId="{7518AA7F-4737-3742-BC05-05769876D68E}" destId="{11C3272A-76B9-7448-B450-0D8FE104AA3D}" srcOrd="0" destOrd="0" presId="urn:microsoft.com/office/officeart/2005/8/layout/lProcess3"/>
    <dgm:cxn modelId="{82AF4A3B-B1A2-2E43-B3B9-6136CAF1C77F}" type="presOf" srcId="{F43A69C8-3CAB-C149-A981-649B17817BFF}" destId="{B30BF1C3-F7E3-A444-AAEE-DF156077A030}" srcOrd="0" destOrd="0" presId="urn:microsoft.com/office/officeart/2005/8/layout/lProcess3"/>
    <dgm:cxn modelId="{AE345CC6-131C-7A48-82C5-8017876EA932}" type="presOf" srcId="{B644E403-3CF7-BE45-98C3-BEF62E68E115}" destId="{03803A47-89AD-1241-8354-A7546298D963}" srcOrd="0" destOrd="0" presId="urn:microsoft.com/office/officeart/2005/8/layout/lProcess3"/>
    <dgm:cxn modelId="{79590FA2-BB70-D347-9EBA-D013C985A14F}" srcId="{6D511EB3-CFF1-E140-80AB-FBBE9C6F96F6}" destId="{29361876-AAF5-CC4A-8C6B-CDBECCE4EB70}" srcOrd="5" destOrd="0" parTransId="{83AEAD3D-682A-9446-A9E2-3B41EC28FD25}" sibTransId="{2943C74D-DD6D-0348-92C7-C1D851069C17}"/>
    <dgm:cxn modelId="{DBA78312-07A2-5441-BBF7-D27433748102}" type="presOf" srcId="{E3E69E88-21C0-2A47-8D7B-480E79EB974B}" destId="{4031A59A-27F5-B04F-BC0C-A029114E53A5}" srcOrd="0" destOrd="0" presId="urn:microsoft.com/office/officeart/2005/8/layout/lProcess3"/>
    <dgm:cxn modelId="{35937D66-CF72-4041-AF0A-34BFFAD10B08}" type="presParOf" srcId="{CAD6D5E5-0B06-B246-A841-5578FDB923C0}" destId="{8342379B-EB03-CA46-89B8-5A23D92B7485}" srcOrd="0" destOrd="0" presId="urn:microsoft.com/office/officeart/2005/8/layout/lProcess3"/>
    <dgm:cxn modelId="{7B7288F9-D3D8-4C48-9E02-EADB3CD2F6D8}" type="presParOf" srcId="{8342379B-EB03-CA46-89B8-5A23D92B7485}" destId="{C145CC1E-B6B6-1844-8E31-7ABFA13C52F0}" srcOrd="0" destOrd="0" presId="urn:microsoft.com/office/officeart/2005/8/layout/lProcess3"/>
    <dgm:cxn modelId="{90A41ECB-8B66-7E4D-A90A-D47D58DCA879}" type="presParOf" srcId="{8342379B-EB03-CA46-89B8-5A23D92B7485}" destId="{666B3482-3F84-AF45-855C-D7BEB65F4CDC}" srcOrd="1" destOrd="0" presId="urn:microsoft.com/office/officeart/2005/8/layout/lProcess3"/>
    <dgm:cxn modelId="{E1B37D72-A66D-FB42-B13F-1C8A59CBE56E}" type="presParOf" srcId="{8342379B-EB03-CA46-89B8-5A23D92B7485}" destId="{F53FCBDF-BAD6-4545-88E5-98E8F514FE30}" srcOrd="2" destOrd="0" presId="urn:microsoft.com/office/officeart/2005/8/layout/lProcess3"/>
    <dgm:cxn modelId="{E844E191-2FA5-2248-86A6-FE6EB892125A}" type="presParOf" srcId="{8342379B-EB03-CA46-89B8-5A23D92B7485}" destId="{DC55DD67-5147-714E-A35D-1B024FDAC0D0}" srcOrd="3" destOrd="0" presId="urn:microsoft.com/office/officeart/2005/8/layout/lProcess3"/>
    <dgm:cxn modelId="{63D68C19-6388-5749-827D-CE9AD1102459}" type="presParOf" srcId="{8342379B-EB03-CA46-89B8-5A23D92B7485}" destId="{197E642F-5114-0F43-96CC-5BDF0583DC57}" srcOrd="4" destOrd="0" presId="urn:microsoft.com/office/officeart/2005/8/layout/lProcess3"/>
    <dgm:cxn modelId="{EDB3E719-E5E5-6244-A613-A5A626F16454}" type="presParOf" srcId="{8342379B-EB03-CA46-89B8-5A23D92B7485}" destId="{8B4D7F1F-82BF-8A45-BB7B-0F84609ABB20}" srcOrd="5" destOrd="0" presId="urn:microsoft.com/office/officeart/2005/8/layout/lProcess3"/>
    <dgm:cxn modelId="{B3045CED-6AEB-7646-8762-BD0CC7356CE8}" type="presParOf" srcId="{8342379B-EB03-CA46-89B8-5A23D92B7485}" destId="{A4F3D06D-9777-1C47-9E7B-3D46B4F66A66}" srcOrd="6" destOrd="0" presId="urn:microsoft.com/office/officeart/2005/8/layout/lProcess3"/>
    <dgm:cxn modelId="{C9B55BED-89FF-FE40-9358-25834A70C94A}" type="presParOf" srcId="{CAD6D5E5-0B06-B246-A841-5578FDB923C0}" destId="{937A7420-11F1-5B46-BD99-13E74E0CD2EC}" srcOrd="1" destOrd="0" presId="urn:microsoft.com/office/officeart/2005/8/layout/lProcess3"/>
    <dgm:cxn modelId="{4B823628-F351-F143-94EC-E405356F51DC}" type="presParOf" srcId="{CAD6D5E5-0B06-B246-A841-5578FDB923C0}" destId="{35564949-BA2B-7B4D-A507-FD89535536FD}" srcOrd="2" destOrd="0" presId="urn:microsoft.com/office/officeart/2005/8/layout/lProcess3"/>
    <dgm:cxn modelId="{CC7D76CA-0866-3F4D-B154-08FF74011235}" type="presParOf" srcId="{35564949-BA2B-7B4D-A507-FD89535536FD}" destId="{775A69E5-2BBF-614F-AFDD-D0A3D0362508}" srcOrd="0" destOrd="0" presId="urn:microsoft.com/office/officeart/2005/8/layout/lProcess3"/>
    <dgm:cxn modelId="{DDB69999-C4FF-084B-95F5-6584DE3E5672}" type="presParOf" srcId="{35564949-BA2B-7B4D-A507-FD89535536FD}" destId="{7906B6F1-4EF4-AF40-9AA3-008E1A7368E6}" srcOrd="1" destOrd="0" presId="urn:microsoft.com/office/officeart/2005/8/layout/lProcess3"/>
    <dgm:cxn modelId="{53F113F9-ED2C-9B49-813B-2C3C0F757671}" type="presParOf" srcId="{35564949-BA2B-7B4D-A507-FD89535536FD}" destId="{31CACEB6-9FD5-8C4B-8B65-122296461EA4}" srcOrd="2" destOrd="0" presId="urn:microsoft.com/office/officeart/2005/8/layout/lProcess3"/>
    <dgm:cxn modelId="{3AA9E9E6-CF5C-A940-9728-4B126D4FE3EC}" type="presParOf" srcId="{35564949-BA2B-7B4D-A507-FD89535536FD}" destId="{9E0E5BD1-E8A0-E14D-B1E4-3F8E242ADB79}" srcOrd="3" destOrd="0" presId="urn:microsoft.com/office/officeart/2005/8/layout/lProcess3"/>
    <dgm:cxn modelId="{9A0A9E83-C6A9-274B-949D-15AAD0C6BDC6}" type="presParOf" srcId="{35564949-BA2B-7B4D-A507-FD89535536FD}" destId="{60B8511E-591E-D841-BB2F-44ADFA82F193}" srcOrd="4" destOrd="0" presId="urn:microsoft.com/office/officeart/2005/8/layout/lProcess3"/>
    <dgm:cxn modelId="{84791927-C08C-8243-92D5-AC55920C19E6}" type="presParOf" srcId="{35564949-BA2B-7B4D-A507-FD89535536FD}" destId="{B66363E3-75DA-2C40-9AC3-E6F5CBF2FBAA}" srcOrd="5" destOrd="0" presId="urn:microsoft.com/office/officeart/2005/8/layout/lProcess3"/>
    <dgm:cxn modelId="{A7F99D54-76BE-1741-85DF-A790DC28E77D}" type="presParOf" srcId="{35564949-BA2B-7B4D-A507-FD89535536FD}" destId="{57D7E1EE-F05C-314E-AD09-6BD2ED197FBA}" srcOrd="6" destOrd="0" presId="urn:microsoft.com/office/officeart/2005/8/layout/lProcess3"/>
    <dgm:cxn modelId="{3B540A81-0012-EF4C-A44E-632C17AA3233}" type="presParOf" srcId="{CAD6D5E5-0B06-B246-A841-5578FDB923C0}" destId="{6EA13C14-CED1-1346-B11D-D447B8970813}" srcOrd="3" destOrd="0" presId="urn:microsoft.com/office/officeart/2005/8/layout/lProcess3"/>
    <dgm:cxn modelId="{C8B3D900-1BB8-CF46-A7EE-D62B7C098B5F}" type="presParOf" srcId="{CAD6D5E5-0B06-B246-A841-5578FDB923C0}" destId="{4FC65CDA-9C00-2D4E-8E11-45198450081C}" srcOrd="4" destOrd="0" presId="urn:microsoft.com/office/officeart/2005/8/layout/lProcess3"/>
    <dgm:cxn modelId="{ED8DBF5E-253E-E546-88FF-027016DA7467}" type="presParOf" srcId="{4FC65CDA-9C00-2D4E-8E11-45198450081C}" destId="{4A2FB9A1-9235-0949-83CA-D51F5DA99D72}" srcOrd="0" destOrd="0" presId="urn:microsoft.com/office/officeart/2005/8/layout/lProcess3"/>
    <dgm:cxn modelId="{86B973B9-C102-DA4D-87D3-65E7F782D6D5}" type="presParOf" srcId="{4FC65CDA-9C00-2D4E-8E11-45198450081C}" destId="{8A76E225-7C35-F740-AAD5-1A4CB970BCAA}" srcOrd="1" destOrd="0" presId="urn:microsoft.com/office/officeart/2005/8/layout/lProcess3"/>
    <dgm:cxn modelId="{5DE4AA4F-A04E-5546-98DA-9E849BD6C5BD}" type="presParOf" srcId="{4FC65CDA-9C00-2D4E-8E11-45198450081C}" destId="{F42D4193-E4A6-5C48-8814-03F6A23DDF8C}" srcOrd="2" destOrd="0" presId="urn:microsoft.com/office/officeart/2005/8/layout/lProcess3"/>
    <dgm:cxn modelId="{36E55CA8-C9F5-5043-AEE7-32736658D989}" type="presParOf" srcId="{4FC65CDA-9C00-2D4E-8E11-45198450081C}" destId="{04FB21D7-1DA8-E34A-9438-9ACA37741369}" srcOrd="3" destOrd="0" presId="urn:microsoft.com/office/officeart/2005/8/layout/lProcess3"/>
    <dgm:cxn modelId="{284FD11F-7B16-5448-827D-8D0CCCC7C50D}" type="presParOf" srcId="{4FC65CDA-9C00-2D4E-8E11-45198450081C}" destId="{FFCA4059-004D-CE44-B3A0-4F12FB805D6E}" srcOrd="4" destOrd="0" presId="urn:microsoft.com/office/officeart/2005/8/layout/lProcess3"/>
    <dgm:cxn modelId="{D23951EC-43D3-A34F-B248-E9109E075559}" type="presParOf" srcId="{4FC65CDA-9C00-2D4E-8E11-45198450081C}" destId="{50EB3352-4BBE-1F48-A36A-9CCEC2C8112A}" srcOrd="5" destOrd="0" presId="urn:microsoft.com/office/officeart/2005/8/layout/lProcess3"/>
    <dgm:cxn modelId="{81B9A802-BECB-554A-94C3-59E508CD8286}" type="presParOf" srcId="{4FC65CDA-9C00-2D4E-8E11-45198450081C}" destId="{2151CF37-F830-5648-9885-B21EF9E9F740}" srcOrd="6" destOrd="0" presId="urn:microsoft.com/office/officeart/2005/8/layout/lProcess3"/>
    <dgm:cxn modelId="{ABD82333-F5DD-8444-8526-3C649A6242FB}" type="presParOf" srcId="{CAD6D5E5-0B06-B246-A841-5578FDB923C0}" destId="{06F92DD1-93F9-6C44-A869-B2AF3438AD1B}" srcOrd="5" destOrd="0" presId="urn:microsoft.com/office/officeart/2005/8/layout/lProcess3"/>
    <dgm:cxn modelId="{F743B1E2-0821-7543-B8C1-01C1555F7722}" type="presParOf" srcId="{CAD6D5E5-0B06-B246-A841-5578FDB923C0}" destId="{D3B974D0-B273-F943-8E8B-B741059CC77D}" srcOrd="6" destOrd="0" presId="urn:microsoft.com/office/officeart/2005/8/layout/lProcess3"/>
    <dgm:cxn modelId="{3FC9A20C-5263-CD44-B17F-23821CE6F8DB}" type="presParOf" srcId="{D3B974D0-B273-F943-8E8B-B741059CC77D}" destId="{3B40A95D-B40B-944E-AC31-152B8D26C483}" srcOrd="0" destOrd="0" presId="urn:microsoft.com/office/officeart/2005/8/layout/lProcess3"/>
    <dgm:cxn modelId="{E8196F8D-AAF8-324D-9C2A-F5F7B5D1E049}" type="presParOf" srcId="{D3B974D0-B273-F943-8E8B-B741059CC77D}" destId="{A3DC30C1-2BDD-B64B-9D4D-66FE82C2602F}" srcOrd="1" destOrd="0" presId="urn:microsoft.com/office/officeart/2005/8/layout/lProcess3"/>
    <dgm:cxn modelId="{C734ECEB-7271-4840-9154-D766C9567BEE}" type="presParOf" srcId="{D3B974D0-B273-F943-8E8B-B741059CC77D}" destId="{15EBAC07-05B3-D747-8525-B9CC2BEA77DF}" srcOrd="2" destOrd="0" presId="urn:microsoft.com/office/officeart/2005/8/layout/lProcess3"/>
    <dgm:cxn modelId="{35E6D153-0151-FF45-9C3A-60FF6A5CA032}" type="presParOf" srcId="{D3B974D0-B273-F943-8E8B-B741059CC77D}" destId="{51A280B6-60F7-414B-A584-10AE63D41041}" srcOrd="3" destOrd="0" presId="urn:microsoft.com/office/officeart/2005/8/layout/lProcess3"/>
    <dgm:cxn modelId="{BEAC3EB8-9514-6045-8DE2-C4EF11419166}" type="presParOf" srcId="{D3B974D0-B273-F943-8E8B-B741059CC77D}" destId="{FF5DEEDD-500F-1945-8E75-6C705DBBF87F}" srcOrd="4" destOrd="0" presId="urn:microsoft.com/office/officeart/2005/8/layout/lProcess3"/>
    <dgm:cxn modelId="{675F383E-90DD-144A-88B8-841E0EA7A100}" type="presParOf" srcId="{D3B974D0-B273-F943-8E8B-B741059CC77D}" destId="{F838D61F-15C8-C745-B7AC-6996FBB7F72A}" srcOrd="5" destOrd="0" presId="urn:microsoft.com/office/officeart/2005/8/layout/lProcess3"/>
    <dgm:cxn modelId="{E8DD8923-A12F-1749-A35C-480F21E5BB24}" type="presParOf" srcId="{D3B974D0-B273-F943-8E8B-B741059CC77D}" destId="{1EDD6CE2-433A-2840-803B-67E257C113FA}" srcOrd="6" destOrd="0" presId="urn:microsoft.com/office/officeart/2005/8/layout/lProcess3"/>
    <dgm:cxn modelId="{390949DA-F7D1-0746-84A4-D95D44CEDD39}" type="presParOf" srcId="{CAD6D5E5-0B06-B246-A841-5578FDB923C0}" destId="{E792EED2-D497-1448-BAA4-9C213FED4002}" srcOrd="7" destOrd="0" presId="urn:microsoft.com/office/officeart/2005/8/layout/lProcess3"/>
    <dgm:cxn modelId="{F3E7ADEE-3C05-BB4C-864B-9DCD0F6BBA96}" type="presParOf" srcId="{CAD6D5E5-0B06-B246-A841-5578FDB923C0}" destId="{9A248D73-2168-F042-991D-5BBBCE144750}" srcOrd="8" destOrd="0" presId="urn:microsoft.com/office/officeart/2005/8/layout/lProcess3"/>
    <dgm:cxn modelId="{00F308F2-0A3E-6F43-8E39-6794058673B8}" type="presParOf" srcId="{9A248D73-2168-F042-991D-5BBBCE144750}" destId="{4031A59A-27F5-B04F-BC0C-A029114E53A5}" srcOrd="0" destOrd="0" presId="urn:microsoft.com/office/officeart/2005/8/layout/lProcess3"/>
    <dgm:cxn modelId="{D2B47B55-18F9-5447-AF3B-A69C8FE8AF6C}" type="presParOf" srcId="{9A248D73-2168-F042-991D-5BBBCE144750}" destId="{4A346251-7E6C-A74F-A8D0-F5D499ADB11D}" srcOrd="1" destOrd="0" presId="urn:microsoft.com/office/officeart/2005/8/layout/lProcess3"/>
    <dgm:cxn modelId="{DB48AD73-12FC-3E47-B214-BFD585BBA220}" type="presParOf" srcId="{9A248D73-2168-F042-991D-5BBBCE144750}" destId="{171C45A2-4265-734B-914E-BF43AB31D2DF}" srcOrd="2" destOrd="0" presId="urn:microsoft.com/office/officeart/2005/8/layout/lProcess3"/>
    <dgm:cxn modelId="{28555EE5-536C-B449-B308-E01F68FF283C}" type="presParOf" srcId="{9A248D73-2168-F042-991D-5BBBCE144750}" destId="{A77C1352-0DCD-C04B-87C9-EC987E5B1A76}" srcOrd="3" destOrd="0" presId="urn:microsoft.com/office/officeart/2005/8/layout/lProcess3"/>
    <dgm:cxn modelId="{3DE8930C-C686-AC42-8DB4-3F786AC61E5E}" type="presParOf" srcId="{9A248D73-2168-F042-991D-5BBBCE144750}" destId="{7663A885-E389-164D-B128-8679BE02EAF1}" srcOrd="4" destOrd="0" presId="urn:microsoft.com/office/officeart/2005/8/layout/lProcess3"/>
    <dgm:cxn modelId="{F1440657-5770-7D49-8536-A6B006DE746A}" type="presParOf" srcId="{9A248D73-2168-F042-991D-5BBBCE144750}" destId="{121B5ADC-DBFA-6043-8FBC-F278A7F110F2}" srcOrd="5" destOrd="0" presId="urn:microsoft.com/office/officeart/2005/8/layout/lProcess3"/>
    <dgm:cxn modelId="{A090EFF2-C7F3-CE40-A570-8048BF591796}" type="presParOf" srcId="{9A248D73-2168-F042-991D-5BBBCE144750}" destId="{D405C125-5B67-2246-8D0E-5786B44DE0AD}" srcOrd="6" destOrd="0" presId="urn:microsoft.com/office/officeart/2005/8/layout/lProcess3"/>
    <dgm:cxn modelId="{A94FC43D-76F2-7E4E-8E1A-6BFB6F8ADF44}" type="presParOf" srcId="{CAD6D5E5-0B06-B246-A841-5578FDB923C0}" destId="{85A1E6D6-6178-AE4E-B72E-57C10034C15C}" srcOrd="9" destOrd="0" presId="urn:microsoft.com/office/officeart/2005/8/layout/lProcess3"/>
    <dgm:cxn modelId="{B8FB07A2-ACB0-3B4B-ACBE-BBA8331036D7}" type="presParOf" srcId="{CAD6D5E5-0B06-B246-A841-5578FDB923C0}" destId="{AFC45BA4-ED16-5740-AA9C-7E01F90A3600}" srcOrd="10" destOrd="0" presId="urn:microsoft.com/office/officeart/2005/8/layout/lProcess3"/>
    <dgm:cxn modelId="{479F4F0F-D112-394E-8D2C-AAA32ABC91A5}" type="presParOf" srcId="{AFC45BA4-ED16-5740-AA9C-7E01F90A3600}" destId="{42C45591-EB23-3F45-B63C-79B3C943D688}" srcOrd="0" destOrd="0" presId="urn:microsoft.com/office/officeart/2005/8/layout/lProcess3"/>
    <dgm:cxn modelId="{86AE7E4B-AC76-B04C-8E06-E02B34EDC750}" type="presParOf" srcId="{AFC45BA4-ED16-5740-AA9C-7E01F90A3600}" destId="{7C8500CB-88F6-B94A-99D6-97D73BEFAD4C}" srcOrd="1" destOrd="0" presId="urn:microsoft.com/office/officeart/2005/8/layout/lProcess3"/>
    <dgm:cxn modelId="{559682FB-0D7D-F74C-972B-FA204B83A97E}" type="presParOf" srcId="{AFC45BA4-ED16-5740-AA9C-7E01F90A3600}" destId="{2D0149C7-3A07-2940-8143-227FD5D40F59}" srcOrd="2" destOrd="0" presId="urn:microsoft.com/office/officeart/2005/8/layout/lProcess3"/>
    <dgm:cxn modelId="{4D9B09AA-3B75-CF42-A45A-615622DF02A9}" type="presParOf" srcId="{AFC45BA4-ED16-5740-AA9C-7E01F90A3600}" destId="{6A2BCF9D-8BB9-8E4A-83F7-4C8D9D11DCB7}" srcOrd="3" destOrd="0" presId="urn:microsoft.com/office/officeart/2005/8/layout/lProcess3"/>
    <dgm:cxn modelId="{990BC89C-587D-4D49-9EDB-2815FB0F7526}" type="presParOf" srcId="{AFC45BA4-ED16-5740-AA9C-7E01F90A3600}" destId="{88AC32BE-C9DA-A742-8963-D99D3F453246}" srcOrd="4" destOrd="0" presId="urn:microsoft.com/office/officeart/2005/8/layout/lProcess3"/>
    <dgm:cxn modelId="{20762116-FE2F-7046-A997-F998C01270AC}" type="presParOf" srcId="{AFC45BA4-ED16-5740-AA9C-7E01F90A3600}" destId="{ABB2D371-9C8C-EF42-A39A-834F5E3455C7}" srcOrd="5" destOrd="0" presId="urn:microsoft.com/office/officeart/2005/8/layout/lProcess3"/>
    <dgm:cxn modelId="{9CE29D62-F6D2-8A4A-AA59-57C783113EA5}" type="presParOf" srcId="{AFC45BA4-ED16-5740-AA9C-7E01F90A3600}" destId="{11C3272A-76B9-7448-B450-0D8FE104AA3D}" srcOrd="6" destOrd="0" presId="urn:microsoft.com/office/officeart/2005/8/layout/lProcess3"/>
    <dgm:cxn modelId="{99F4E034-23FF-2141-9F4D-4904A0F489C3}" type="presParOf" srcId="{CAD6D5E5-0B06-B246-A841-5578FDB923C0}" destId="{A01D2F39-9D51-5043-ADEC-C211C2C8F054}" srcOrd="11" destOrd="0" presId="urn:microsoft.com/office/officeart/2005/8/layout/lProcess3"/>
    <dgm:cxn modelId="{19EE9406-6DC3-7C4D-99A7-5A028B1E45A9}" type="presParOf" srcId="{CAD6D5E5-0B06-B246-A841-5578FDB923C0}" destId="{0861BB9C-3CF3-C447-8C16-0C9452259F3D}" srcOrd="12" destOrd="0" presId="urn:microsoft.com/office/officeart/2005/8/layout/lProcess3"/>
    <dgm:cxn modelId="{B6DA3EDA-DB7C-FE49-AC70-68087D1104A8}" type="presParOf" srcId="{0861BB9C-3CF3-C447-8C16-0C9452259F3D}" destId="{947F4C9E-7F20-6345-94DB-2E23ACCCF372}" srcOrd="0" destOrd="0" presId="urn:microsoft.com/office/officeart/2005/8/layout/lProcess3"/>
    <dgm:cxn modelId="{F0752F09-698A-524E-B0DE-B77B5DB8B42F}" type="presParOf" srcId="{0861BB9C-3CF3-C447-8C16-0C9452259F3D}" destId="{BE11DAEB-4394-6B4B-B0E8-0F99511319D1}" srcOrd="1" destOrd="0" presId="urn:microsoft.com/office/officeart/2005/8/layout/lProcess3"/>
    <dgm:cxn modelId="{EFEC9F2F-03E2-E549-AC1C-7F94FED4F727}" type="presParOf" srcId="{0861BB9C-3CF3-C447-8C16-0C9452259F3D}" destId="{03803A47-89AD-1241-8354-A7546298D963}" srcOrd="2" destOrd="0" presId="urn:microsoft.com/office/officeart/2005/8/layout/lProcess3"/>
    <dgm:cxn modelId="{857FC802-D213-CA4A-8435-D049637F0287}" type="presParOf" srcId="{0861BB9C-3CF3-C447-8C16-0C9452259F3D}" destId="{55CDFC51-924E-624F-8B26-D54ADC97DE36}" srcOrd="3" destOrd="0" presId="urn:microsoft.com/office/officeart/2005/8/layout/lProcess3"/>
    <dgm:cxn modelId="{CFEBCDF2-C458-3044-B382-C15CDEB4F36B}" type="presParOf" srcId="{0861BB9C-3CF3-C447-8C16-0C9452259F3D}" destId="{B30BF1C3-F7E3-A444-AAEE-DF156077A030}" srcOrd="4" destOrd="0" presId="urn:microsoft.com/office/officeart/2005/8/layout/lProcess3"/>
    <dgm:cxn modelId="{E0BD8B22-2F2D-9247-A8C5-ED5302CFEDE9}" type="presParOf" srcId="{0861BB9C-3CF3-C447-8C16-0C9452259F3D}" destId="{459BB271-5C0A-964B-8FF6-9DD55318CD49}" srcOrd="5" destOrd="0" presId="urn:microsoft.com/office/officeart/2005/8/layout/lProcess3"/>
    <dgm:cxn modelId="{45FC7C48-706E-DB48-A9A0-93C53A977E4C}" type="presParOf" srcId="{0861BB9C-3CF3-C447-8C16-0C9452259F3D}" destId="{0A713571-47C9-A946-B88D-EFDE794A555E}" srcOrd="6"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80A388C-82AB-D849-80D0-196B3530B3BB}" type="doc">
      <dgm:prSet loTypeId="urn:microsoft.com/office/officeart/2005/8/layout/hChevron3" loCatId="" qsTypeId="urn:microsoft.com/office/officeart/2005/8/quickstyle/simple2" qsCatId="simple" csTypeId="urn:microsoft.com/office/officeart/2005/8/colors/accent1_2" csCatId="accent1" phldr="1"/>
      <dgm:spPr/>
    </dgm:pt>
    <dgm:pt modelId="{3D08D16E-72CC-A441-BF11-847313999CC7}">
      <dgm:prSet phldrT="[Text]" custT="1"/>
      <dgm:spPr>
        <a:solidFill>
          <a:schemeClr val="accent6">
            <a:lumMod val="60000"/>
            <a:lumOff val="40000"/>
          </a:schemeClr>
        </a:solidFill>
      </dgm:spPr>
      <dgm:t>
        <a:bodyPr/>
        <a:lstStyle/>
        <a:p>
          <a:pPr algn="l"/>
          <a:r>
            <a:rPr lang="en-US" sz="1600" b="1" dirty="0" smtClean="0">
              <a:solidFill>
                <a:srgbClr val="000000"/>
              </a:solidFill>
            </a:rPr>
            <a:t>         Phase 1</a:t>
          </a:r>
          <a:br>
            <a:rPr lang="en-US" sz="1600" b="1" dirty="0" smtClean="0">
              <a:solidFill>
                <a:srgbClr val="000000"/>
              </a:solidFill>
            </a:rPr>
          </a:br>
          <a:r>
            <a:rPr lang="en-US" sz="1600" b="1" dirty="0" smtClean="0">
              <a:solidFill>
                <a:srgbClr val="000000"/>
              </a:solidFill>
            </a:rPr>
            <a:t>    </a:t>
          </a:r>
          <a:r>
            <a:rPr lang="en-US" sz="1600" b="0" dirty="0" smtClean="0">
              <a:solidFill>
                <a:srgbClr val="000000"/>
              </a:solidFill>
            </a:rPr>
            <a:t>Searchable Data</a:t>
          </a:r>
          <a:r>
            <a:rPr lang="en-US" sz="1400" dirty="0" smtClean="0">
              <a:solidFill>
                <a:srgbClr val="000000"/>
              </a:solidFill>
            </a:rPr>
            <a:t/>
          </a:r>
          <a:br>
            <a:rPr lang="en-US" sz="1400" dirty="0" smtClean="0">
              <a:solidFill>
                <a:srgbClr val="000000"/>
              </a:solidFill>
            </a:rPr>
          </a:br>
          <a:r>
            <a:rPr lang="en-US" sz="1400" dirty="0" smtClean="0">
              <a:solidFill>
                <a:srgbClr val="000000"/>
              </a:solidFill>
            </a:rPr>
            <a:t>       FY2014 –2015</a:t>
          </a:r>
          <a:endParaRPr lang="en-US" sz="1400" dirty="0">
            <a:solidFill>
              <a:srgbClr val="000000"/>
            </a:solidFill>
          </a:endParaRPr>
        </a:p>
      </dgm:t>
    </dgm:pt>
    <dgm:pt modelId="{2CCCB6D7-2C69-2D44-B683-FFE18DEA1E5B}" type="parTrans" cxnId="{DF131442-383D-AD4A-AC06-64BB4D9C8EE9}">
      <dgm:prSet/>
      <dgm:spPr/>
      <dgm:t>
        <a:bodyPr/>
        <a:lstStyle/>
        <a:p>
          <a:endParaRPr lang="en-US"/>
        </a:p>
      </dgm:t>
    </dgm:pt>
    <dgm:pt modelId="{5D8DBE74-20C4-2746-A549-73D45A8F4D52}" type="sibTrans" cxnId="{DF131442-383D-AD4A-AC06-64BB4D9C8EE9}">
      <dgm:prSet/>
      <dgm:spPr/>
      <dgm:t>
        <a:bodyPr/>
        <a:lstStyle/>
        <a:p>
          <a:endParaRPr lang="en-US"/>
        </a:p>
      </dgm:t>
    </dgm:pt>
    <dgm:pt modelId="{BBE4B7DC-F67D-EA43-A6E8-7C6285840995}">
      <dgm:prSet phldrT="[Text]" custT="1"/>
      <dgm:spPr>
        <a:solidFill>
          <a:srgbClr val="FAC090"/>
        </a:solidFill>
      </dgm:spPr>
      <dgm:t>
        <a:bodyPr/>
        <a:lstStyle/>
        <a:p>
          <a:pPr algn="l">
            <a:lnSpc>
              <a:spcPct val="60000"/>
            </a:lnSpc>
          </a:pPr>
          <a:r>
            <a:rPr lang="en-US" sz="1600" b="1" dirty="0" smtClean="0">
              <a:solidFill>
                <a:srgbClr val="000000"/>
              </a:solidFill>
            </a:rPr>
            <a:t>         Phase 2</a:t>
          </a:r>
        </a:p>
        <a:p>
          <a:pPr algn="l">
            <a:lnSpc>
              <a:spcPct val="60000"/>
            </a:lnSpc>
          </a:pPr>
          <a:r>
            <a:rPr lang="en-US" sz="1600" b="0" dirty="0" smtClean="0">
              <a:solidFill>
                <a:srgbClr val="000000"/>
              </a:solidFill>
            </a:rPr>
            <a:t>      Data Exchange</a:t>
          </a:r>
        </a:p>
        <a:p>
          <a:pPr algn="l">
            <a:lnSpc>
              <a:spcPct val="60000"/>
            </a:lnSpc>
          </a:pPr>
          <a:r>
            <a:rPr lang="en-US" sz="1400" b="0" dirty="0" smtClean="0">
              <a:solidFill>
                <a:srgbClr val="000000"/>
              </a:solidFill>
            </a:rPr>
            <a:t>        FY2015-2016</a:t>
          </a:r>
          <a:endParaRPr lang="en-US" sz="1400" b="0" dirty="0">
            <a:solidFill>
              <a:srgbClr val="000000"/>
            </a:solidFill>
          </a:endParaRPr>
        </a:p>
      </dgm:t>
    </dgm:pt>
    <dgm:pt modelId="{72FBF73F-AC29-B040-8A6B-CC42D6C42EEF}" type="parTrans" cxnId="{34940D61-273A-9148-B697-513CC4E3CFAF}">
      <dgm:prSet/>
      <dgm:spPr/>
      <dgm:t>
        <a:bodyPr/>
        <a:lstStyle/>
        <a:p>
          <a:endParaRPr lang="en-US"/>
        </a:p>
      </dgm:t>
    </dgm:pt>
    <dgm:pt modelId="{F667C5B5-1692-DC47-9B7D-5594172DE5EC}" type="sibTrans" cxnId="{34940D61-273A-9148-B697-513CC4E3CFAF}">
      <dgm:prSet/>
      <dgm:spPr/>
      <dgm:t>
        <a:bodyPr/>
        <a:lstStyle/>
        <a:p>
          <a:endParaRPr lang="en-US"/>
        </a:p>
      </dgm:t>
    </dgm:pt>
    <dgm:pt modelId="{81874D11-509B-4E4D-9ED4-6E46358FCA3A}">
      <dgm:prSet phldrT="[Text]" custT="1"/>
      <dgm:spPr>
        <a:solidFill>
          <a:srgbClr val="FAC090"/>
        </a:solidFill>
      </dgm:spPr>
      <dgm:t>
        <a:bodyPr/>
        <a:lstStyle/>
        <a:p>
          <a:pPr algn="l">
            <a:lnSpc>
              <a:spcPct val="60000"/>
            </a:lnSpc>
          </a:pPr>
          <a:r>
            <a:rPr lang="en-US" sz="1600" b="1" dirty="0" smtClean="0">
              <a:solidFill>
                <a:srgbClr val="000000"/>
              </a:solidFill>
            </a:rPr>
            <a:t>       Phase 3</a:t>
          </a:r>
        </a:p>
        <a:p>
          <a:pPr algn="l">
            <a:lnSpc>
              <a:spcPct val="60000"/>
            </a:lnSpc>
          </a:pPr>
          <a:r>
            <a:rPr lang="en-US" sz="1600" b="0" dirty="0" smtClean="0">
              <a:solidFill>
                <a:srgbClr val="000000"/>
              </a:solidFill>
            </a:rPr>
            <a:t>  System Integration</a:t>
          </a:r>
          <a:r>
            <a:rPr lang="en-US" sz="1600" b="1" dirty="0" smtClean="0">
              <a:solidFill>
                <a:srgbClr val="000000"/>
              </a:solidFill>
            </a:rPr>
            <a:t> </a:t>
          </a:r>
        </a:p>
        <a:p>
          <a:pPr algn="l">
            <a:lnSpc>
              <a:spcPct val="60000"/>
            </a:lnSpc>
          </a:pPr>
          <a:r>
            <a:rPr lang="en-US" sz="1400" dirty="0" smtClean="0">
              <a:solidFill>
                <a:srgbClr val="000000"/>
              </a:solidFill>
            </a:rPr>
            <a:t>     FY2017 – 2018</a:t>
          </a:r>
          <a:endParaRPr lang="en-US" sz="1400" dirty="0">
            <a:solidFill>
              <a:srgbClr val="000000"/>
            </a:solidFill>
          </a:endParaRPr>
        </a:p>
      </dgm:t>
    </dgm:pt>
    <dgm:pt modelId="{A05A4F88-5C4E-5941-B643-711FF29C2A16}" type="sibTrans" cxnId="{78AA8956-B883-5E4E-9A83-BF74BEC1F30D}">
      <dgm:prSet/>
      <dgm:spPr/>
      <dgm:t>
        <a:bodyPr/>
        <a:lstStyle/>
        <a:p>
          <a:endParaRPr lang="en-US"/>
        </a:p>
      </dgm:t>
    </dgm:pt>
    <dgm:pt modelId="{9C6EF3A4-5073-784B-B344-4E40863BFBDC}" type="parTrans" cxnId="{78AA8956-B883-5E4E-9A83-BF74BEC1F30D}">
      <dgm:prSet/>
      <dgm:spPr/>
      <dgm:t>
        <a:bodyPr/>
        <a:lstStyle/>
        <a:p>
          <a:endParaRPr lang="en-US"/>
        </a:p>
      </dgm:t>
    </dgm:pt>
    <dgm:pt modelId="{2141C3FB-0FCE-5540-806B-A8F76CC2C4B0}">
      <dgm:prSet phldrT="[Text]" custT="1"/>
      <dgm:spPr>
        <a:solidFill>
          <a:srgbClr val="FAC090"/>
        </a:solidFill>
      </dgm:spPr>
      <dgm:t>
        <a:bodyPr anchor="ctr"/>
        <a:lstStyle/>
        <a:p>
          <a:pPr>
            <a:lnSpc>
              <a:spcPct val="60000"/>
            </a:lnSpc>
          </a:pPr>
          <a:r>
            <a:rPr lang="en-US" sz="1600" b="1" dirty="0" smtClean="0">
              <a:solidFill>
                <a:srgbClr val="000000"/>
              </a:solidFill>
            </a:rPr>
            <a:t>Phase 4</a:t>
          </a:r>
        </a:p>
        <a:p>
          <a:pPr>
            <a:lnSpc>
              <a:spcPct val="60000"/>
            </a:lnSpc>
          </a:pPr>
          <a:r>
            <a:rPr lang="en-US" sz="1600" b="0" dirty="0" smtClean="0">
              <a:solidFill>
                <a:srgbClr val="000000"/>
              </a:solidFill>
            </a:rPr>
            <a:t> Implementation</a:t>
          </a:r>
        </a:p>
        <a:p>
          <a:pPr>
            <a:lnSpc>
              <a:spcPct val="60000"/>
            </a:lnSpc>
          </a:pPr>
          <a:r>
            <a:rPr lang="en-US" sz="1400" dirty="0" smtClean="0">
              <a:solidFill>
                <a:srgbClr val="000000"/>
              </a:solidFill>
            </a:rPr>
            <a:t>FY2019 – 2021</a:t>
          </a:r>
          <a:endParaRPr lang="en-US" sz="1400" b="1" dirty="0" smtClean="0">
            <a:solidFill>
              <a:srgbClr val="000000"/>
            </a:solidFill>
          </a:endParaRPr>
        </a:p>
      </dgm:t>
    </dgm:pt>
    <dgm:pt modelId="{6F5DB622-AE13-3D4C-BBF6-579F37077D67}" type="parTrans" cxnId="{417F02F0-A597-184E-837B-E4F7133E923F}">
      <dgm:prSet/>
      <dgm:spPr/>
      <dgm:t>
        <a:bodyPr/>
        <a:lstStyle/>
        <a:p>
          <a:endParaRPr lang="en-US"/>
        </a:p>
      </dgm:t>
    </dgm:pt>
    <dgm:pt modelId="{6687D73B-31CA-FA4F-8FA4-CAC68217FE84}" type="sibTrans" cxnId="{417F02F0-A597-184E-837B-E4F7133E923F}">
      <dgm:prSet/>
      <dgm:spPr/>
      <dgm:t>
        <a:bodyPr/>
        <a:lstStyle/>
        <a:p>
          <a:endParaRPr lang="en-US"/>
        </a:p>
      </dgm:t>
    </dgm:pt>
    <dgm:pt modelId="{39B532FE-ED58-EF4D-8D22-587547714790}" type="pres">
      <dgm:prSet presAssocID="{780A388C-82AB-D849-80D0-196B3530B3BB}" presName="Name0" presStyleCnt="0">
        <dgm:presLayoutVars>
          <dgm:dir/>
          <dgm:resizeHandles val="exact"/>
        </dgm:presLayoutVars>
      </dgm:prSet>
      <dgm:spPr/>
    </dgm:pt>
    <dgm:pt modelId="{B3EF1A18-EFDD-5A41-B6CB-56BF43AF5E2D}" type="pres">
      <dgm:prSet presAssocID="{3D08D16E-72CC-A441-BF11-847313999CC7}" presName="parTxOnly" presStyleLbl="node1" presStyleIdx="0" presStyleCnt="4" custScaleX="54085" custLinFactNeighborX="5011" custLinFactNeighborY="-940">
        <dgm:presLayoutVars>
          <dgm:bulletEnabled val="1"/>
        </dgm:presLayoutVars>
      </dgm:prSet>
      <dgm:spPr/>
      <dgm:t>
        <a:bodyPr/>
        <a:lstStyle/>
        <a:p>
          <a:endParaRPr lang="en-US"/>
        </a:p>
      </dgm:t>
    </dgm:pt>
    <dgm:pt modelId="{27086160-573D-8E4C-92B3-50B351034F49}" type="pres">
      <dgm:prSet presAssocID="{5D8DBE74-20C4-2746-A549-73D45A8F4D52}" presName="parSpace" presStyleCnt="0"/>
      <dgm:spPr/>
    </dgm:pt>
    <dgm:pt modelId="{489432F9-D88A-104E-B4E1-D631ACB7E33B}" type="pres">
      <dgm:prSet presAssocID="{BBE4B7DC-F67D-EA43-A6E8-7C6285840995}" presName="parTxOnly" presStyleLbl="node1" presStyleIdx="1" presStyleCnt="4" custScaleX="51011" custLinFactNeighborX="670" custLinFactNeighborY="-79999">
        <dgm:presLayoutVars>
          <dgm:bulletEnabled val="1"/>
        </dgm:presLayoutVars>
      </dgm:prSet>
      <dgm:spPr/>
      <dgm:t>
        <a:bodyPr/>
        <a:lstStyle/>
        <a:p>
          <a:endParaRPr lang="en-US"/>
        </a:p>
      </dgm:t>
    </dgm:pt>
    <dgm:pt modelId="{4EFC943A-0252-7240-951E-5E65AF18F8D6}" type="pres">
      <dgm:prSet presAssocID="{F667C5B5-1692-DC47-9B7D-5594172DE5EC}" presName="parSpace" presStyleCnt="0"/>
      <dgm:spPr/>
    </dgm:pt>
    <dgm:pt modelId="{E1B21308-84D6-654C-94BB-E7F17DE0748C}" type="pres">
      <dgm:prSet presAssocID="{81874D11-509B-4E4D-9ED4-6E46358FCA3A}" presName="parTxOnly" presStyleLbl="node1" presStyleIdx="2" presStyleCnt="4" custScaleX="61442" custLinFactNeighborX="35907">
        <dgm:presLayoutVars>
          <dgm:bulletEnabled val="1"/>
        </dgm:presLayoutVars>
      </dgm:prSet>
      <dgm:spPr/>
      <dgm:t>
        <a:bodyPr/>
        <a:lstStyle/>
        <a:p>
          <a:endParaRPr lang="en-US"/>
        </a:p>
      </dgm:t>
    </dgm:pt>
    <dgm:pt modelId="{969867C8-118D-3D4F-B1D4-3C044E9CFD1C}" type="pres">
      <dgm:prSet presAssocID="{A05A4F88-5C4E-5941-B643-711FF29C2A16}" presName="parSpace" presStyleCnt="0"/>
      <dgm:spPr/>
    </dgm:pt>
    <dgm:pt modelId="{C01C9B31-3493-7A43-A3C4-3B5E13CA68AA}" type="pres">
      <dgm:prSet presAssocID="{2141C3FB-0FCE-5540-806B-A8F76CC2C4B0}" presName="parTxOnly" presStyleLbl="node1" presStyleIdx="3" presStyleCnt="4" custScaleX="39436" custLinFactNeighborY="-940">
        <dgm:presLayoutVars>
          <dgm:bulletEnabled val="1"/>
        </dgm:presLayoutVars>
      </dgm:prSet>
      <dgm:spPr/>
      <dgm:t>
        <a:bodyPr/>
        <a:lstStyle/>
        <a:p>
          <a:endParaRPr lang="en-US"/>
        </a:p>
      </dgm:t>
    </dgm:pt>
  </dgm:ptLst>
  <dgm:cxnLst>
    <dgm:cxn modelId="{DF131442-383D-AD4A-AC06-64BB4D9C8EE9}" srcId="{780A388C-82AB-D849-80D0-196B3530B3BB}" destId="{3D08D16E-72CC-A441-BF11-847313999CC7}" srcOrd="0" destOrd="0" parTransId="{2CCCB6D7-2C69-2D44-B683-FFE18DEA1E5B}" sibTransId="{5D8DBE74-20C4-2746-A549-73D45A8F4D52}"/>
    <dgm:cxn modelId="{2679862F-3769-7C4D-924B-B30E2DB33573}" type="presOf" srcId="{81874D11-509B-4E4D-9ED4-6E46358FCA3A}" destId="{E1B21308-84D6-654C-94BB-E7F17DE0748C}" srcOrd="0" destOrd="0" presId="urn:microsoft.com/office/officeart/2005/8/layout/hChevron3"/>
    <dgm:cxn modelId="{2A8CB18F-C80B-0A4B-B1E7-45BCC751BF11}" type="presOf" srcId="{780A388C-82AB-D849-80D0-196B3530B3BB}" destId="{39B532FE-ED58-EF4D-8D22-587547714790}" srcOrd="0" destOrd="0" presId="urn:microsoft.com/office/officeart/2005/8/layout/hChevron3"/>
    <dgm:cxn modelId="{417F02F0-A597-184E-837B-E4F7133E923F}" srcId="{780A388C-82AB-D849-80D0-196B3530B3BB}" destId="{2141C3FB-0FCE-5540-806B-A8F76CC2C4B0}" srcOrd="3" destOrd="0" parTransId="{6F5DB622-AE13-3D4C-BBF6-579F37077D67}" sibTransId="{6687D73B-31CA-FA4F-8FA4-CAC68217FE84}"/>
    <dgm:cxn modelId="{610BD61B-BA0A-AD40-9EFD-55190A16F80B}" type="presOf" srcId="{2141C3FB-0FCE-5540-806B-A8F76CC2C4B0}" destId="{C01C9B31-3493-7A43-A3C4-3B5E13CA68AA}" srcOrd="0" destOrd="0" presId="urn:microsoft.com/office/officeart/2005/8/layout/hChevron3"/>
    <dgm:cxn modelId="{34940D61-273A-9148-B697-513CC4E3CFAF}" srcId="{780A388C-82AB-D849-80D0-196B3530B3BB}" destId="{BBE4B7DC-F67D-EA43-A6E8-7C6285840995}" srcOrd="1" destOrd="0" parTransId="{72FBF73F-AC29-B040-8A6B-CC42D6C42EEF}" sibTransId="{F667C5B5-1692-DC47-9B7D-5594172DE5EC}"/>
    <dgm:cxn modelId="{78AA8956-B883-5E4E-9A83-BF74BEC1F30D}" srcId="{780A388C-82AB-D849-80D0-196B3530B3BB}" destId="{81874D11-509B-4E4D-9ED4-6E46358FCA3A}" srcOrd="2" destOrd="0" parTransId="{9C6EF3A4-5073-784B-B344-4E40863BFBDC}" sibTransId="{A05A4F88-5C4E-5941-B643-711FF29C2A16}"/>
    <dgm:cxn modelId="{6DA901B2-B7E5-D247-BDF5-4BBBBAC3ABC2}" type="presOf" srcId="{3D08D16E-72CC-A441-BF11-847313999CC7}" destId="{B3EF1A18-EFDD-5A41-B6CB-56BF43AF5E2D}" srcOrd="0" destOrd="0" presId="urn:microsoft.com/office/officeart/2005/8/layout/hChevron3"/>
    <dgm:cxn modelId="{81D03690-184D-7A44-A78D-303C87FE82EA}" type="presOf" srcId="{BBE4B7DC-F67D-EA43-A6E8-7C6285840995}" destId="{489432F9-D88A-104E-B4E1-D631ACB7E33B}" srcOrd="0" destOrd="0" presId="urn:microsoft.com/office/officeart/2005/8/layout/hChevron3"/>
    <dgm:cxn modelId="{C3B9F08A-2E5A-A245-BC82-46D5ED762A38}" type="presParOf" srcId="{39B532FE-ED58-EF4D-8D22-587547714790}" destId="{B3EF1A18-EFDD-5A41-B6CB-56BF43AF5E2D}" srcOrd="0" destOrd="0" presId="urn:microsoft.com/office/officeart/2005/8/layout/hChevron3"/>
    <dgm:cxn modelId="{063B189A-8A86-D144-8FCE-B08AD9FC7005}" type="presParOf" srcId="{39B532FE-ED58-EF4D-8D22-587547714790}" destId="{27086160-573D-8E4C-92B3-50B351034F49}" srcOrd="1" destOrd="0" presId="urn:microsoft.com/office/officeart/2005/8/layout/hChevron3"/>
    <dgm:cxn modelId="{93D3774F-292F-1747-BEBF-8117BACD26CA}" type="presParOf" srcId="{39B532FE-ED58-EF4D-8D22-587547714790}" destId="{489432F9-D88A-104E-B4E1-D631ACB7E33B}" srcOrd="2" destOrd="0" presId="urn:microsoft.com/office/officeart/2005/8/layout/hChevron3"/>
    <dgm:cxn modelId="{87801E22-3167-614B-A6A4-08A70FCF880A}" type="presParOf" srcId="{39B532FE-ED58-EF4D-8D22-587547714790}" destId="{4EFC943A-0252-7240-951E-5E65AF18F8D6}" srcOrd="3" destOrd="0" presId="urn:microsoft.com/office/officeart/2005/8/layout/hChevron3"/>
    <dgm:cxn modelId="{D4DF01CC-2246-4B49-BF3D-B543A65196A8}" type="presParOf" srcId="{39B532FE-ED58-EF4D-8D22-587547714790}" destId="{E1B21308-84D6-654C-94BB-E7F17DE0748C}" srcOrd="4" destOrd="0" presId="urn:microsoft.com/office/officeart/2005/8/layout/hChevron3"/>
    <dgm:cxn modelId="{7DAB2935-9554-8D4B-BD36-5EF0EC2B1798}" type="presParOf" srcId="{39B532FE-ED58-EF4D-8D22-587547714790}" destId="{969867C8-118D-3D4F-B1D4-3C044E9CFD1C}" srcOrd="5" destOrd="0" presId="urn:microsoft.com/office/officeart/2005/8/layout/hChevron3"/>
    <dgm:cxn modelId="{1C3AB5D1-E2DD-2742-9566-78D21D5A90F2}" type="presParOf" srcId="{39B532FE-ED58-EF4D-8D22-587547714790}" destId="{C01C9B31-3493-7A43-A3C4-3B5E13CA68AA}" srcOrd="6"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45CC1E-B6B6-1844-8E31-7ABFA13C52F0}">
      <dsp:nvSpPr>
        <dsp:cNvPr id="0" name=""/>
        <dsp:cNvSpPr/>
      </dsp:nvSpPr>
      <dsp:spPr>
        <a:xfrm>
          <a:off x="1478109" y="0"/>
          <a:ext cx="2836873" cy="612550"/>
        </a:xfrm>
        <a:prstGeom prst="chevron">
          <a:avLst/>
        </a:prstGeom>
        <a:solidFill>
          <a:schemeClr val="accent3">
            <a:lumMod val="5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6985" rIns="0" bIns="6985" numCol="1" spcCol="1270" anchor="ctr" anchorCtr="0">
          <a:noAutofit/>
        </a:bodyPr>
        <a:lstStyle/>
        <a:p>
          <a:pPr lvl="0" algn="ctr" defTabSz="488950">
            <a:lnSpc>
              <a:spcPct val="90000"/>
            </a:lnSpc>
            <a:spcBef>
              <a:spcPct val="0"/>
            </a:spcBef>
            <a:spcAft>
              <a:spcPct val="35000"/>
            </a:spcAft>
          </a:pPr>
          <a:r>
            <a:rPr lang="en-US" sz="1100" kern="1200" dirty="0" smtClean="0">
              <a:solidFill>
                <a:srgbClr val="FFFFFF"/>
              </a:solidFill>
            </a:rPr>
            <a:t>GeneLab Phase 1</a:t>
          </a:r>
        </a:p>
        <a:p>
          <a:pPr lvl="0" algn="ctr" defTabSz="488950">
            <a:lnSpc>
              <a:spcPct val="90000"/>
            </a:lnSpc>
            <a:spcBef>
              <a:spcPct val="0"/>
            </a:spcBef>
            <a:spcAft>
              <a:spcPct val="35000"/>
            </a:spcAft>
          </a:pPr>
          <a:r>
            <a:rPr lang="en-US" sz="1100" kern="1200" dirty="0" smtClean="0">
              <a:solidFill>
                <a:srgbClr val="FFFFFF"/>
              </a:solidFill>
            </a:rPr>
            <a:t>FY2014-2015</a:t>
          </a:r>
          <a:endParaRPr lang="en-US" sz="1100" kern="1200" dirty="0">
            <a:solidFill>
              <a:srgbClr val="FFFFFF"/>
            </a:solidFill>
          </a:endParaRPr>
        </a:p>
      </dsp:txBody>
      <dsp:txXfrm>
        <a:off x="1784384" y="0"/>
        <a:ext cx="2224323" cy="612550"/>
      </dsp:txXfrm>
    </dsp:sp>
    <dsp:sp modelId="{F53FCBDF-BAD6-4545-88E5-98E8F514FE30}">
      <dsp:nvSpPr>
        <dsp:cNvPr id="0" name=""/>
        <dsp:cNvSpPr/>
      </dsp:nvSpPr>
      <dsp:spPr>
        <a:xfrm>
          <a:off x="4115904" y="55540"/>
          <a:ext cx="1271041" cy="508416"/>
        </a:xfrm>
        <a:prstGeom prst="chevron">
          <a:avLst/>
        </a:prstGeom>
        <a:solidFill>
          <a:schemeClr val="accent3">
            <a:lumMod val="60000"/>
            <a:lumOff val="40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r>
            <a:rPr lang="en-US" sz="800" kern="1200" dirty="0" smtClean="0">
              <a:solidFill>
                <a:schemeClr val="tx1"/>
              </a:solidFill>
            </a:rPr>
            <a:t>GeneLab </a:t>
          </a:r>
        </a:p>
        <a:p>
          <a:pPr lvl="0" algn="ctr" defTabSz="355600">
            <a:lnSpc>
              <a:spcPct val="90000"/>
            </a:lnSpc>
            <a:spcBef>
              <a:spcPct val="0"/>
            </a:spcBef>
            <a:spcAft>
              <a:spcPct val="35000"/>
            </a:spcAft>
          </a:pPr>
          <a:r>
            <a:rPr lang="en-US" sz="800" kern="1200" dirty="0" smtClean="0">
              <a:solidFill>
                <a:schemeClr val="tx1"/>
              </a:solidFill>
            </a:rPr>
            <a:t>Phase 2</a:t>
          </a:r>
        </a:p>
        <a:p>
          <a:pPr lvl="0" algn="ctr" defTabSz="355600">
            <a:lnSpc>
              <a:spcPct val="90000"/>
            </a:lnSpc>
            <a:spcBef>
              <a:spcPct val="0"/>
            </a:spcBef>
            <a:spcAft>
              <a:spcPct val="35000"/>
            </a:spcAft>
          </a:pPr>
          <a:r>
            <a:rPr lang="en-US" sz="800" kern="1200" dirty="0" smtClean="0">
              <a:solidFill>
                <a:schemeClr val="tx1"/>
              </a:solidFill>
            </a:rPr>
            <a:t>CY 2016</a:t>
          </a:r>
          <a:endParaRPr lang="en-US" sz="800" kern="1200" dirty="0">
            <a:solidFill>
              <a:schemeClr val="tx1"/>
            </a:solidFill>
          </a:endParaRPr>
        </a:p>
      </dsp:txBody>
      <dsp:txXfrm>
        <a:off x="4370112" y="55540"/>
        <a:ext cx="762625" cy="508416"/>
      </dsp:txXfrm>
    </dsp:sp>
    <dsp:sp modelId="{197E642F-5114-0F43-96CC-5BDF0583DC57}">
      <dsp:nvSpPr>
        <dsp:cNvPr id="0" name=""/>
        <dsp:cNvSpPr/>
      </dsp:nvSpPr>
      <dsp:spPr>
        <a:xfrm>
          <a:off x="5209000" y="55540"/>
          <a:ext cx="1271041" cy="508416"/>
        </a:xfrm>
        <a:prstGeom prst="chevron">
          <a:avLst/>
        </a:prstGeom>
        <a:solidFill>
          <a:schemeClr val="accent3">
            <a:lumMod val="60000"/>
            <a:lumOff val="40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r>
            <a:rPr lang="en-US" sz="800" kern="1200" dirty="0" smtClean="0">
              <a:solidFill>
                <a:schemeClr val="tx1"/>
              </a:solidFill>
            </a:rPr>
            <a:t>GeneLab </a:t>
          </a:r>
        </a:p>
        <a:p>
          <a:pPr lvl="0" algn="ctr" defTabSz="355600">
            <a:lnSpc>
              <a:spcPct val="90000"/>
            </a:lnSpc>
            <a:spcBef>
              <a:spcPct val="0"/>
            </a:spcBef>
            <a:spcAft>
              <a:spcPct val="35000"/>
            </a:spcAft>
          </a:pPr>
          <a:r>
            <a:rPr lang="en-US" sz="800" kern="1200" dirty="0" smtClean="0">
              <a:solidFill>
                <a:schemeClr val="tx1"/>
              </a:solidFill>
            </a:rPr>
            <a:t>Phase 3</a:t>
          </a:r>
        </a:p>
        <a:p>
          <a:pPr lvl="0" algn="ctr" defTabSz="355600">
            <a:lnSpc>
              <a:spcPct val="90000"/>
            </a:lnSpc>
            <a:spcBef>
              <a:spcPct val="0"/>
            </a:spcBef>
            <a:spcAft>
              <a:spcPct val="35000"/>
            </a:spcAft>
          </a:pPr>
          <a:r>
            <a:rPr lang="en-US" sz="800" kern="1200" dirty="0" smtClean="0">
              <a:solidFill>
                <a:schemeClr val="tx1"/>
              </a:solidFill>
            </a:rPr>
            <a:t>CY 2017</a:t>
          </a:r>
          <a:endParaRPr lang="en-US" sz="800" kern="1200" dirty="0">
            <a:solidFill>
              <a:schemeClr val="tx1"/>
            </a:solidFill>
          </a:endParaRPr>
        </a:p>
      </dsp:txBody>
      <dsp:txXfrm>
        <a:off x="5463208" y="55540"/>
        <a:ext cx="762625" cy="508416"/>
      </dsp:txXfrm>
    </dsp:sp>
    <dsp:sp modelId="{A4F3D06D-9777-1C47-9E7B-3D46B4F66A66}">
      <dsp:nvSpPr>
        <dsp:cNvPr id="0" name=""/>
        <dsp:cNvSpPr/>
      </dsp:nvSpPr>
      <dsp:spPr>
        <a:xfrm>
          <a:off x="6302097" y="55540"/>
          <a:ext cx="1271041" cy="508416"/>
        </a:xfrm>
        <a:prstGeom prst="chevron">
          <a:avLst/>
        </a:prstGeom>
        <a:solidFill>
          <a:schemeClr val="accent3">
            <a:lumMod val="60000"/>
            <a:lumOff val="40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r>
            <a:rPr lang="en-US" sz="800" kern="1200" dirty="0" smtClean="0">
              <a:solidFill>
                <a:schemeClr val="tx1"/>
              </a:solidFill>
            </a:rPr>
            <a:t>GeneLab </a:t>
          </a:r>
        </a:p>
        <a:p>
          <a:pPr lvl="0" algn="ctr" defTabSz="355600">
            <a:lnSpc>
              <a:spcPct val="90000"/>
            </a:lnSpc>
            <a:spcBef>
              <a:spcPct val="0"/>
            </a:spcBef>
            <a:spcAft>
              <a:spcPct val="35000"/>
            </a:spcAft>
          </a:pPr>
          <a:r>
            <a:rPr lang="en-US" sz="800" kern="1200" dirty="0" smtClean="0">
              <a:solidFill>
                <a:schemeClr val="tx1"/>
              </a:solidFill>
            </a:rPr>
            <a:t>Phase 4</a:t>
          </a:r>
        </a:p>
        <a:p>
          <a:pPr lvl="0" algn="ctr" defTabSz="355600">
            <a:lnSpc>
              <a:spcPct val="90000"/>
            </a:lnSpc>
            <a:spcBef>
              <a:spcPct val="0"/>
            </a:spcBef>
            <a:spcAft>
              <a:spcPct val="35000"/>
            </a:spcAft>
          </a:pPr>
          <a:r>
            <a:rPr lang="en-US" sz="800" kern="1200" dirty="0" smtClean="0">
              <a:solidFill>
                <a:schemeClr val="tx1"/>
              </a:solidFill>
            </a:rPr>
            <a:t>CY 2018-2021</a:t>
          </a:r>
          <a:endParaRPr lang="en-US" sz="800" kern="1200" dirty="0">
            <a:solidFill>
              <a:schemeClr val="tx1"/>
            </a:solidFill>
          </a:endParaRPr>
        </a:p>
      </dsp:txBody>
      <dsp:txXfrm>
        <a:off x="6556305" y="55540"/>
        <a:ext cx="762625" cy="508416"/>
      </dsp:txXfrm>
    </dsp:sp>
    <dsp:sp modelId="{775A69E5-2BBF-614F-AFDD-D0A3D0362508}">
      <dsp:nvSpPr>
        <dsp:cNvPr id="0" name=""/>
        <dsp:cNvSpPr/>
      </dsp:nvSpPr>
      <dsp:spPr>
        <a:xfrm>
          <a:off x="1478109" y="666387"/>
          <a:ext cx="2836873" cy="612550"/>
        </a:xfrm>
        <a:prstGeom prst="chevron">
          <a:avLst/>
        </a:prstGeom>
        <a:solidFill>
          <a:schemeClr val="accent5">
            <a:lumMod val="5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6985" rIns="0" bIns="6985" numCol="1" spcCol="1270" anchor="ctr" anchorCtr="0">
          <a:noAutofit/>
        </a:bodyPr>
        <a:lstStyle/>
        <a:p>
          <a:pPr lvl="0" algn="ctr" defTabSz="488950">
            <a:lnSpc>
              <a:spcPct val="90000"/>
            </a:lnSpc>
            <a:spcBef>
              <a:spcPct val="0"/>
            </a:spcBef>
            <a:spcAft>
              <a:spcPct val="35000"/>
            </a:spcAft>
          </a:pPr>
          <a:r>
            <a:rPr lang="en-US" sz="1100" kern="1200" dirty="0" smtClean="0">
              <a:solidFill>
                <a:srgbClr val="FFFFFF"/>
              </a:solidFill>
            </a:rPr>
            <a:t>C-Gene (AKA C3)</a:t>
          </a:r>
        </a:p>
        <a:p>
          <a:pPr lvl="0" algn="ctr" defTabSz="488950">
            <a:lnSpc>
              <a:spcPct val="90000"/>
            </a:lnSpc>
            <a:spcBef>
              <a:spcPct val="0"/>
            </a:spcBef>
            <a:spcAft>
              <a:spcPct val="35000"/>
            </a:spcAft>
          </a:pPr>
          <a:r>
            <a:rPr lang="en-US" sz="1100" kern="1200" dirty="0" smtClean="0">
              <a:solidFill>
                <a:srgbClr val="FFFFFF"/>
              </a:solidFill>
            </a:rPr>
            <a:t>Long Term Curated </a:t>
          </a:r>
          <a:r>
            <a:rPr lang="en-US" sz="1100" kern="1200" dirty="0" err="1" smtClean="0">
              <a:solidFill>
                <a:srgbClr val="FFFFFF"/>
              </a:solidFill>
            </a:rPr>
            <a:t>Omics</a:t>
          </a:r>
          <a:r>
            <a:rPr lang="en-US" sz="1100" kern="1200" dirty="0" smtClean="0">
              <a:solidFill>
                <a:srgbClr val="FFFFFF"/>
              </a:solidFill>
            </a:rPr>
            <a:t> Data</a:t>
          </a:r>
        </a:p>
      </dsp:txBody>
      <dsp:txXfrm>
        <a:off x="1784384" y="666387"/>
        <a:ext cx="2224323" cy="612550"/>
      </dsp:txXfrm>
    </dsp:sp>
    <dsp:sp modelId="{31CACEB6-9FD5-8C4B-8B65-122296461EA4}">
      <dsp:nvSpPr>
        <dsp:cNvPr id="0" name=""/>
        <dsp:cNvSpPr/>
      </dsp:nvSpPr>
      <dsp:spPr>
        <a:xfrm>
          <a:off x="4115904" y="718431"/>
          <a:ext cx="1271041" cy="508416"/>
        </a:xfrm>
        <a:prstGeom prst="chevron">
          <a:avLst/>
        </a:prstGeom>
        <a:solidFill>
          <a:schemeClr val="accent5">
            <a:lumMod val="60000"/>
            <a:lumOff val="40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r>
            <a:rPr lang="en-US" sz="800" kern="1200" dirty="0" smtClean="0">
              <a:solidFill>
                <a:schemeClr val="tx1"/>
              </a:solidFill>
            </a:rPr>
            <a:t>Improve Search</a:t>
          </a:r>
          <a:endParaRPr lang="en-US" sz="800" kern="1200" dirty="0">
            <a:solidFill>
              <a:schemeClr val="tx1"/>
            </a:solidFill>
          </a:endParaRPr>
        </a:p>
      </dsp:txBody>
      <dsp:txXfrm>
        <a:off x="4370112" y="718431"/>
        <a:ext cx="762625" cy="508416"/>
      </dsp:txXfrm>
    </dsp:sp>
    <dsp:sp modelId="{60B8511E-591E-D841-BB2F-44ADFA82F193}">
      <dsp:nvSpPr>
        <dsp:cNvPr id="0" name=""/>
        <dsp:cNvSpPr/>
      </dsp:nvSpPr>
      <dsp:spPr>
        <a:xfrm>
          <a:off x="5209000" y="718431"/>
          <a:ext cx="1271041" cy="508416"/>
        </a:xfrm>
        <a:prstGeom prst="chevron">
          <a:avLst/>
        </a:prstGeom>
        <a:solidFill>
          <a:schemeClr val="accent5">
            <a:lumMod val="60000"/>
            <a:lumOff val="40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r>
            <a:rPr lang="en-US" sz="800" kern="1200" dirty="0" smtClean="0">
              <a:solidFill>
                <a:schemeClr val="tx1"/>
              </a:solidFill>
            </a:rPr>
            <a:t>Support and Maintain</a:t>
          </a:r>
          <a:endParaRPr lang="en-US" sz="800" kern="1200" dirty="0">
            <a:solidFill>
              <a:schemeClr val="tx1"/>
            </a:solidFill>
          </a:endParaRPr>
        </a:p>
      </dsp:txBody>
      <dsp:txXfrm>
        <a:off x="5463208" y="718431"/>
        <a:ext cx="762625" cy="508416"/>
      </dsp:txXfrm>
    </dsp:sp>
    <dsp:sp modelId="{57D7E1EE-F05C-314E-AD09-6BD2ED197FBA}">
      <dsp:nvSpPr>
        <dsp:cNvPr id="0" name=""/>
        <dsp:cNvSpPr/>
      </dsp:nvSpPr>
      <dsp:spPr>
        <a:xfrm>
          <a:off x="6302097" y="718431"/>
          <a:ext cx="1271041" cy="508416"/>
        </a:xfrm>
        <a:prstGeom prst="chevron">
          <a:avLst/>
        </a:prstGeom>
        <a:solidFill>
          <a:schemeClr val="accent5">
            <a:lumMod val="60000"/>
            <a:lumOff val="40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r>
            <a:rPr lang="en-US" sz="800" kern="1200" dirty="0" smtClean="0">
              <a:solidFill>
                <a:schemeClr val="tx1"/>
              </a:solidFill>
            </a:rPr>
            <a:t>Support and Maintain</a:t>
          </a:r>
          <a:endParaRPr lang="en-US" sz="800" kern="1200" dirty="0">
            <a:solidFill>
              <a:schemeClr val="tx1"/>
            </a:solidFill>
          </a:endParaRPr>
        </a:p>
      </dsp:txBody>
      <dsp:txXfrm>
        <a:off x="6556305" y="718431"/>
        <a:ext cx="762625" cy="508416"/>
      </dsp:txXfrm>
    </dsp:sp>
    <dsp:sp modelId="{4A2FB9A1-9235-0949-83CA-D51F5DA99D72}">
      <dsp:nvSpPr>
        <dsp:cNvPr id="0" name=""/>
        <dsp:cNvSpPr/>
      </dsp:nvSpPr>
      <dsp:spPr>
        <a:xfrm>
          <a:off x="1478109" y="1325859"/>
          <a:ext cx="2836873" cy="612550"/>
        </a:xfrm>
        <a:prstGeom prst="chevron">
          <a:avLst/>
        </a:prstGeom>
        <a:solidFill>
          <a:schemeClr val="accent6">
            <a:lumMod val="5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6985" rIns="0" bIns="6985" numCol="1" spcCol="1270" anchor="ctr" anchorCtr="0">
          <a:noAutofit/>
        </a:bodyPr>
        <a:lstStyle/>
        <a:p>
          <a:pPr lvl="0" algn="ctr" defTabSz="488950">
            <a:lnSpc>
              <a:spcPct val="90000"/>
            </a:lnSpc>
            <a:spcBef>
              <a:spcPct val="0"/>
            </a:spcBef>
            <a:spcAft>
              <a:spcPct val="35000"/>
            </a:spcAft>
          </a:pPr>
          <a:r>
            <a:rPr lang="en-US" sz="1100" kern="1200" dirty="0" smtClean="0">
              <a:solidFill>
                <a:srgbClr val="FFFFFF"/>
              </a:solidFill>
            </a:rPr>
            <a:t>X-Gene</a:t>
          </a:r>
        </a:p>
        <a:p>
          <a:pPr lvl="0" algn="ctr" defTabSz="488950">
            <a:lnSpc>
              <a:spcPct val="90000"/>
            </a:lnSpc>
            <a:spcBef>
              <a:spcPct val="0"/>
            </a:spcBef>
            <a:spcAft>
              <a:spcPct val="35000"/>
            </a:spcAft>
          </a:pPr>
          <a:r>
            <a:rPr lang="en-US" sz="1100" u="sng" kern="1200" dirty="0" smtClean="0">
              <a:solidFill>
                <a:srgbClr val="FFFFFF"/>
              </a:solidFill>
            </a:rPr>
            <a:t>Extend </a:t>
          </a:r>
          <a:r>
            <a:rPr lang="en-US" sz="1100" u="none" kern="1200" dirty="0" smtClean="0">
              <a:solidFill>
                <a:srgbClr val="FFFFFF"/>
              </a:solidFill>
            </a:rPr>
            <a:t>C-Gene </a:t>
          </a:r>
          <a:r>
            <a:rPr lang="en-US" sz="1100" kern="1200" dirty="0" smtClean="0">
              <a:solidFill>
                <a:srgbClr val="FFFFFF"/>
              </a:solidFill>
            </a:rPr>
            <a:t>Capabilities</a:t>
          </a:r>
          <a:endParaRPr lang="en-US" sz="1100" kern="1200" dirty="0">
            <a:solidFill>
              <a:srgbClr val="FFFFFF"/>
            </a:solidFill>
          </a:endParaRPr>
        </a:p>
      </dsp:txBody>
      <dsp:txXfrm>
        <a:off x="1784384" y="1325859"/>
        <a:ext cx="2224323" cy="612550"/>
      </dsp:txXfrm>
    </dsp:sp>
    <dsp:sp modelId="{F42D4193-E4A6-5C48-8814-03F6A23DDF8C}">
      <dsp:nvSpPr>
        <dsp:cNvPr id="0" name=""/>
        <dsp:cNvSpPr/>
      </dsp:nvSpPr>
      <dsp:spPr>
        <a:xfrm>
          <a:off x="4115904" y="1377896"/>
          <a:ext cx="1271041" cy="508416"/>
        </a:xfrm>
        <a:prstGeom prst="chevron">
          <a:avLst/>
        </a:prstGeom>
        <a:solidFill>
          <a:schemeClr val="accent6">
            <a:lumMod val="40000"/>
            <a:lumOff val="60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r>
            <a:rPr lang="en-US" sz="800" kern="1200" dirty="0" smtClean="0">
              <a:solidFill>
                <a:schemeClr val="tx1"/>
              </a:solidFill>
            </a:rPr>
            <a:t>Data Federation</a:t>
          </a:r>
        </a:p>
        <a:p>
          <a:pPr lvl="0" algn="ctr" defTabSz="355600">
            <a:lnSpc>
              <a:spcPct val="90000"/>
            </a:lnSpc>
            <a:spcBef>
              <a:spcPct val="0"/>
            </a:spcBef>
            <a:spcAft>
              <a:spcPct val="35000"/>
            </a:spcAft>
          </a:pPr>
          <a:r>
            <a:rPr lang="en-US" sz="800" kern="1200" dirty="0" smtClean="0">
              <a:solidFill>
                <a:schemeClr val="tx1"/>
              </a:solidFill>
            </a:rPr>
            <a:t>Storage &amp; GUI</a:t>
          </a:r>
          <a:endParaRPr lang="en-US" sz="800" kern="1200" dirty="0">
            <a:solidFill>
              <a:schemeClr val="tx1"/>
            </a:solidFill>
          </a:endParaRPr>
        </a:p>
      </dsp:txBody>
      <dsp:txXfrm>
        <a:off x="4370112" y="1377896"/>
        <a:ext cx="762625" cy="508416"/>
      </dsp:txXfrm>
    </dsp:sp>
    <dsp:sp modelId="{FFCA4059-004D-CE44-B3A0-4F12FB805D6E}">
      <dsp:nvSpPr>
        <dsp:cNvPr id="0" name=""/>
        <dsp:cNvSpPr/>
      </dsp:nvSpPr>
      <dsp:spPr>
        <a:xfrm>
          <a:off x="5209000" y="1377896"/>
          <a:ext cx="1271041" cy="508416"/>
        </a:xfrm>
        <a:prstGeom prst="chevron">
          <a:avLst/>
        </a:prstGeom>
        <a:solidFill>
          <a:schemeClr val="accent6">
            <a:lumMod val="40000"/>
            <a:lumOff val="60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r>
            <a:rPr lang="en-US" sz="800" kern="1200" dirty="0" smtClean="0">
              <a:solidFill>
                <a:schemeClr val="tx1"/>
              </a:solidFill>
            </a:rPr>
            <a:t>Meta-Data Search,</a:t>
          </a:r>
        </a:p>
        <a:p>
          <a:pPr lvl="0" algn="ctr" defTabSz="355600">
            <a:lnSpc>
              <a:spcPct val="90000"/>
            </a:lnSpc>
            <a:spcBef>
              <a:spcPct val="0"/>
            </a:spcBef>
            <a:spcAft>
              <a:spcPct val="35000"/>
            </a:spcAft>
          </a:pPr>
          <a:r>
            <a:rPr lang="en-US" sz="800" kern="1200" dirty="0" smtClean="0">
              <a:solidFill>
                <a:schemeClr val="tx1"/>
              </a:solidFill>
            </a:rPr>
            <a:t>Tools, Processing</a:t>
          </a:r>
          <a:endParaRPr lang="en-US" sz="800" kern="1200" dirty="0">
            <a:solidFill>
              <a:schemeClr val="tx1"/>
            </a:solidFill>
          </a:endParaRPr>
        </a:p>
      </dsp:txBody>
      <dsp:txXfrm>
        <a:off x="5463208" y="1377896"/>
        <a:ext cx="762625" cy="508416"/>
      </dsp:txXfrm>
    </dsp:sp>
    <dsp:sp modelId="{2151CF37-F830-5648-9885-B21EF9E9F740}">
      <dsp:nvSpPr>
        <dsp:cNvPr id="0" name=""/>
        <dsp:cNvSpPr/>
      </dsp:nvSpPr>
      <dsp:spPr>
        <a:xfrm>
          <a:off x="6302097" y="1377896"/>
          <a:ext cx="1271041" cy="508416"/>
        </a:xfrm>
        <a:prstGeom prst="chevron">
          <a:avLst/>
        </a:prstGeom>
        <a:solidFill>
          <a:schemeClr val="accent6">
            <a:lumMod val="40000"/>
            <a:lumOff val="60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r>
            <a:rPr lang="en-US" sz="800" kern="1200" dirty="0" smtClean="0">
              <a:solidFill>
                <a:schemeClr val="tx1"/>
              </a:solidFill>
            </a:rPr>
            <a:t>Full Capability</a:t>
          </a:r>
          <a:endParaRPr lang="en-US" sz="800" kern="1200" dirty="0">
            <a:solidFill>
              <a:schemeClr val="tx1"/>
            </a:solidFill>
          </a:endParaRPr>
        </a:p>
      </dsp:txBody>
      <dsp:txXfrm>
        <a:off x="6556305" y="1377896"/>
        <a:ext cx="762625" cy="508416"/>
      </dsp:txXfrm>
    </dsp:sp>
    <dsp:sp modelId="{3B40A95D-B40B-944E-AC31-152B8D26C483}">
      <dsp:nvSpPr>
        <dsp:cNvPr id="0" name=""/>
        <dsp:cNvSpPr/>
      </dsp:nvSpPr>
      <dsp:spPr>
        <a:xfrm>
          <a:off x="1478109" y="2096662"/>
          <a:ext cx="2836873" cy="612550"/>
        </a:xfrm>
        <a:prstGeom prst="chevron">
          <a:avLst/>
        </a:prstGeom>
        <a:solidFill>
          <a:srgbClr val="660066"/>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6985" rIns="0" bIns="6985" numCol="1" spcCol="1270" anchor="ctr" anchorCtr="0">
          <a:noAutofit/>
        </a:bodyPr>
        <a:lstStyle/>
        <a:p>
          <a:pPr lvl="0" algn="ctr" defTabSz="488950">
            <a:lnSpc>
              <a:spcPct val="90000"/>
            </a:lnSpc>
            <a:spcBef>
              <a:spcPct val="0"/>
            </a:spcBef>
            <a:spcAft>
              <a:spcPct val="35000"/>
            </a:spcAft>
          </a:pPr>
          <a:r>
            <a:rPr lang="en-US" sz="1100" kern="1200" dirty="0" smtClean="0">
              <a:solidFill>
                <a:srgbClr val="FFFFFF"/>
              </a:solidFill>
            </a:rPr>
            <a:t>N-Gene</a:t>
          </a:r>
        </a:p>
        <a:p>
          <a:pPr lvl="0" algn="ctr" defTabSz="488950">
            <a:lnSpc>
              <a:spcPct val="90000"/>
            </a:lnSpc>
            <a:spcBef>
              <a:spcPct val="0"/>
            </a:spcBef>
            <a:spcAft>
              <a:spcPct val="35000"/>
            </a:spcAft>
          </a:pPr>
          <a:r>
            <a:rPr lang="en-US" sz="1100" kern="1200" dirty="0" smtClean="0">
              <a:solidFill>
                <a:srgbClr val="FFFFFF"/>
              </a:solidFill>
            </a:rPr>
            <a:t>Non-Curated, Non-Vetted </a:t>
          </a:r>
        </a:p>
        <a:p>
          <a:pPr lvl="0" algn="ctr" defTabSz="488950">
            <a:lnSpc>
              <a:spcPct val="90000"/>
            </a:lnSpc>
            <a:spcBef>
              <a:spcPct val="0"/>
            </a:spcBef>
            <a:spcAft>
              <a:spcPct val="35000"/>
            </a:spcAft>
          </a:pPr>
          <a:r>
            <a:rPr lang="en-US" sz="1100" kern="1200" dirty="0" smtClean="0">
              <a:solidFill>
                <a:srgbClr val="FFFFFF"/>
              </a:solidFill>
            </a:rPr>
            <a:t>Controlled Access / Not Yet Authorized</a:t>
          </a:r>
          <a:endParaRPr lang="en-US" sz="1100" kern="1200" dirty="0">
            <a:solidFill>
              <a:srgbClr val="FFFFFF"/>
            </a:solidFill>
          </a:endParaRPr>
        </a:p>
      </dsp:txBody>
      <dsp:txXfrm>
        <a:off x="1784384" y="2096662"/>
        <a:ext cx="2224323" cy="612550"/>
      </dsp:txXfrm>
    </dsp:sp>
    <dsp:sp modelId="{15EBAC07-05B3-D747-8525-B9CC2BEA77DF}">
      <dsp:nvSpPr>
        <dsp:cNvPr id="0" name=""/>
        <dsp:cNvSpPr/>
      </dsp:nvSpPr>
      <dsp:spPr>
        <a:xfrm>
          <a:off x="4115904" y="2148729"/>
          <a:ext cx="1271041" cy="508416"/>
        </a:xfrm>
        <a:prstGeom prst="chevron">
          <a:avLst/>
        </a:prstGeom>
        <a:solidFill>
          <a:schemeClr val="accent4">
            <a:lumMod val="60000"/>
            <a:lumOff val="40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r>
            <a:rPr lang="en-US" sz="800" kern="1200" dirty="0" smtClean="0">
              <a:solidFill>
                <a:schemeClr val="tx1"/>
              </a:solidFill>
            </a:rPr>
            <a:t>Establish Capability</a:t>
          </a:r>
          <a:endParaRPr lang="en-US" sz="800" kern="1200" dirty="0">
            <a:solidFill>
              <a:schemeClr val="tx1"/>
            </a:solidFill>
          </a:endParaRPr>
        </a:p>
      </dsp:txBody>
      <dsp:txXfrm>
        <a:off x="4370112" y="2148729"/>
        <a:ext cx="762625" cy="508416"/>
      </dsp:txXfrm>
    </dsp:sp>
    <dsp:sp modelId="{FF5DEEDD-500F-1945-8E75-6C705DBBF87F}">
      <dsp:nvSpPr>
        <dsp:cNvPr id="0" name=""/>
        <dsp:cNvSpPr/>
      </dsp:nvSpPr>
      <dsp:spPr>
        <a:xfrm>
          <a:off x="5209000" y="2148729"/>
          <a:ext cx="1271041" cy="508416"/>
        </a:xfrm>
        <a:prstGeom prst="chevron">
          <a:avLst/>
        </a:prstGeom>
        <a:solidFill>
          <a:schemeClr val="accent4">
            <a:lumMod val="60000"/>
            <a:lumOff val="40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r>
            <a:rPr lang="en-US" sz="800" kern="1200" dirty="0" smtClean="0">
              <a:solidFill>
                <a:schemeClr val="tx1"/>
              </a:solidFill>
            </a:rPr>
            <a:t>Support and Maintain</a:t>
          </a:r>
          <a:endParaRPr lang="en-US" sz="800" kern="1200" dirty="0">
            <a:solidFill>
              <a:schemeClr val="tx1"/>
            </a:solidFill>
          </a:endParaRPr>
        </a:p>
      </dsp:txBody>
      <dsp:txXfrm>
        <a:off x="5463208" y="2148729"/>
        <a:ext cx="762625" cy="508416"/>
      </dsp:txXfrm>
    </dsp:sp>
    <dsp:sp modelId="{1EDD6CE2-433A-2840-803B-67E257C113FA}">
      <dsp:nvSpPr>
        <dsp:cNvPr id="0" name=""/>
        <dsp:cNvSpPr/>
      </dsp:nvSpPr>
      <dsp:spPr>
        <a:xfrm>
          <a:off x="6302097" y="2148729"/>
          <a:ext cx="1271041" cy="508416"/>
        </a:xfrm>
        <a:prstGeom prst="chevron">
          <a:avLst/>
        </a:prstGeom>
        <a:solidFill>
          <a:schemeClr val="accent4">
            <a:lumMod val="60000"/>
            <a:lumOff val="40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r>
            <a:rPr lang="en-US" sz="800" kern="1200" dirty="0" smtClean="0">
              <a:solidFill>
                <a:schemeClr val="tx1"/>
              </a:solidFill>
            </a:rPr>
            <a:t>Support and Maintain</a:t>
          </a:r>
          <a:endParaRPr lang="en-US" sz="800" kern="1200" dirty="0">
            <a:solidFill>
              <a:schemeClr val="tx1"/>
            </a:solidFill>
          </a:endParaRPr>
        </a:p>
      </dsp:txBody>
      <dsp:txXfrm>
        <a:off x="6556305" y="2148729"/>
        <a:ext cx="762625" cy="508416"/>
      </dsp:txXfrm>
    </dsp:sp>
    <dsp:sp modelId="{4031A59A-27F5-B04F-BC0C-A029114E53A5}">
      <dsp:nvSpPr>
        <dsp:cNvPr id="0" name=""/>
        <dsp:cNvSpPr/>
      </dsp:nvSpPr>
      <dsp:spPr>
        <a:xfrm>
          <a:off x="1478109" y="2794969"/>
          <a:ext cx="2836873" cy="612550"/>
        </a:xfrm>
        <a:prstGeom prst="chevron">
          <a:avLst/>
        </a:prstGeom>
        <a:solidFill>
          <a:schemeClr val="tx2">
            <a:lumMod val="5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6985" rIns="0" bIns="6985" numCol="1" spcCol="1270" anchor="ctr" anchorCtr="0">
          <a:noAutofit/>
        </a:bodyPr>
        <a:lstStyle/>
        <a:p>
          <a:pPr lvl="0" algn="ctr" defTabSz="488950">
            <a:lnSpc>
              <a:spcPct val="90000"/>
            </a:lnSpc>
            <a:spcBef>
              <a:spcPct val="0"/>
            </a:spcBef>
            <a:spcAft>
              <a:spcPct val="35000"/>
            </a:spcAft>
          </a:pPr>
          <a:r>
            <a:rPr lang="en-US" sz="1100" kern="1200" dirty="0" smtClean="0">
              <a:solidFill>
                <a:srgbClr val="FFFFFF"/>
              </a:solidFill>
            </a:rPr>
            <a:t>O-Gene</a:t>
          </a:r>
        </a:p>
        <a:p>
          <a:pPr lvl="0" algn="ctr" defTabSz="488950">
            <a:lnSpc>
              <a:spcPct val="90000"/>
            </a:lnSpc>
            <a:spcBef>
              <a:spcPct val="0"/>
            </a:spcBef>
            <a:spcAft>
              <a:spcPct val="35000"/>
            </a:spcAft>
          </a:pPr>
          <a:r>
            <a:rPr lang="en-US" sz="1100" kern="1200" dirty="0" smtClean="0">
              <a:solidFill>
                <a:srgbClr val="FFFFFF"/>
              </a:solidFill>
            </a:rPr>
            <a:t>Non-Curated, Non-Vetted </a:t>
          </a:r>
        </a:p>
        <a:p>
          <a:pPr lvl="0" algn="ctr" defTabSz="488950">
            <a:lnSpc>
              <a:spcPct val="90000"/>
            </a:lnSpc>
            <a:spcBef>
              <a:spcPct val="0"/>
            </a:spcBef>
            <a:spcAft>
              <a:spcPct val="35000"/>
            </a:spcAft>
          </a:pPr>
          <a:r>
            <a:rPr lang="en-US" sz="1100" kern="1200" dirty="0" smtClean="0">
              <a:solidFill>
                <a:srgbClr val="FFFFFF"/>
              </a:solidFill>
            </a:rPr>
            <a:t>Open Access / Not Yet Authorized</a:t>
          </a:r>
          <a:endParaRPr lang="en-US" sz="1100" kern="1200" dirty="0">
            <a:solidFill>
              <a:srgbClr val="FFFFFF"/>
            </a:solidFill>
          </a:endParaRPr>
        </a:p>
      </dsp:txBody>
      <dsp:txXfrm>
        <a:off x="1784384" y="2794969"/>
        <a:ext cx="2224323" cy="612550"/>
      </dsp:txXfrm>
    </dsp:sp>
    <dsp:sp modelId="{171C45A2-4265-734B-914E-BF43AB31D2DF}">
      <dsp:nvSpPr>
        <dsp:cNvPr id="0" name=""/>
        <dsp:cNvSpPr/>
      </dsp:nvSpPr>
      <dsp:spPr>
        <a:xfrm>
          <a:off x="4115904" y="2847036"/>
          <a:ext cx="1271041" cy="508416"/>
        </a:xfrm>
        <a:prstGeom prst="chevron">
          <a:avLst/>
        </a:prstGeom>
        <a:solidFill>
          <a:schemeClr val="tx2">
            <a:lumMod val="60000"/>
            <a:lumOff val="40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r>
            <a:rPr lang="en-US" sz="800" kern="1200" dirty="0" smtClean="0">
              <a:solidFill>
                <a:schemeClr val="tx1"/>
              </a:solidFill>
            </a:rPr>
            <a:t>Establish Capability</a:t>
          </a:r>
          <a:endParaRPr lang="en-US" sz="800" kern="1200" dirty="0">
            <a:solidFill>
              <a:schemeClr val="tx1"/>
            </a:solidFill>
          </a:endParaRPr>
        </a:p>
      </dsp:txBody>
      <dsp:txXfrm>
        <a:off x="4370112" y="2847036"/>
        <a:ext cx="762625" cy="508416"/>
      </dsp:txXfrm>
    </dsp:sp>
    <dsp:sp modelId="{7663A885-E389-164D-B128-8679BE02EAF1}">
      <dsp:nvSpPr>
        <dsp:cNvPr id="0" name=""/>
        <dsp:cNvSpPr/>
      </dsp:nvSpPr>
      <dsp:spPr>
        <a:xfrm>
          <a:off x="5209000" y="2847036"/>
          <a:ext cx="1271041" cy="508416"/>
        </a:xfrm>
        <a:prstGeom prst="chevron">
          <a:avLst/>
        </a:prstGeom>
        <a:solidFill>
          <a:schemeClr val="tx2">
            <a:lumMod val="60000"/>
            <a:lumOff val="40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r>
            <a:rPr lang="en-US" sz="800" kern="1200" dirty="0" smtClean="0">
              <a:solidFill>
                <a:schemeClr val="tx1"/>
              </a:solidFill>
            </a:rPr>
            <a:t>Support and Maintain</a:t>
          </a:r>
          <a:endParaRPr lang="en-US" sz="800" kern="1200" dirty="0">
            <a:solidFill>
              <a:schemeClr val="tx1"/>
            </a:solidFill>
          </a:endParaRPr>
        </a:p>
      </dsp:txBody>
      <dsp:txXfrm>
        <a:off x="5463208" y="2847036"/>
        <a:ext cx="762625" cy="508416"/>
      </dsp:txXfrm>
    </dsp:sp>
    <dsp:sp modelId="{D405C125-5B67-2246-8D0E-5786B44DE0AD}">
      <dsp:nvSpPr>
        <dsp:cNvPr id="0" name=""/>
        <dsp:cNvSpPr/>
      </dsp:nvSpPr>
      <dsp:spPr>
        <a:xfrm>
          <a:off x="6302097" y="2847036"/>
          <a:ext cx="1271041" cy="508416"/>
        </a:xfrm>
        <a:prstGeom prst="chevron">
          <a:avLst/>
        </a:prstGeom>
        <a:solidFill>
          <a:schemeClr val="tx2">
            <a:lumMod val="60000"/>
            <a:lumOff val="40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r>
            <a:rPr lang="en-US" sz="800" kern="1200" dirty="0" smtClean="0">
              <a:solidFill>
                <a:schemeClr val="tx1"/>
              </a:solidFill>
            </a:rPr>
            <a:t>Support and Maintain</a:t>
          </a:r>
          <a:endParaRPr lang="en-US" sz="800" kern="1200" dirty="0">
            <a:solidFill>
              <a:schemeClr val="tx1"/>
            </a:solidFill>
          </a:endParaRPr>
        </a:p>
      </dsp:txBody>
      <dsp:txXfrm>
        <a:off x="6556305" y="2847036"/>
        <a:ext cx="762625" cy="508416"/>
      </dsp:txXfrm>
    </dsp:sp>
    <dsp:sp modelId="{42C45591-EB23-3F45-B63C-79B3C943D688}">
      <dsp:nvSpPr>
        <dsp:cNvPr id="0" name=""/>
        <dsp:cNvSpPr/>
      </dsp:nvSpPr>
      <dsp:spPr>
        <a:xfrm>
          <a:off x="1478109" y="3493277"/>
          <a:ext cx="2836873" cy="612550"/>
        </a:xfrm>
        <a:prstGeom prst="chevron">
          <a:avLst/>
        </a:prstGeom>
        <a:solidFill>
          <a:schemeClr val="accent2">
            <a:lumMod val="5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6985" rIns="0" bIns="6985" numCol="1" spcCol="1270" anchor="ctr" anchorCtr="0">
          <a:noAutofit/>
        </a:bodyPr>
        <a:lstStyle/>
        <a:p>
          <a:pPr lvl="0" algn="ctr" defTabSz="488950">
            <a:lnSpc>
              <a:spcPct val="90000"/>
            </a:lnSpc>
            <a:spcBef>
              <a:spcPct val="0"/>
            </a:spcBef>
            <a:spcAft>
              <a:spcPct val="35000"/>
            </a:spcAft>
          </a:pPr>
          <a:r>
            <a:rPr lang="en-US" sz="1100" kern="1200" dirty="0" smtClean="0">
              <a:solidFill>
                <a:srgbClr val="FFFFFF"/>
              </a:solidFill>
            </a:rPr>
            <a:t>T-Gene</a:t>
          </a:r>
        </a:p>
        <a:p>
          <a:pPr lvl="0" algn="ctr" defTabSz="488950">
            <a:lnSpc>
              <a:spcPct val="90000"/>
            </a:lnSpc>
            <a:spcBef>
              <a:spcPct val="0"/>
            </a:spcBef>
            <a:spcAft>
              <a:spcPct val="35000"/>
            </a:spcAft>
          </a:pPr>
          <a:r>
            <a:rPr lang="en-US" sz="1100" kern="1200" dirty="0" smtClean="0">
              <a:solidFill>
                <a:srgbClr val="FFFFFF"/>
              </a:solidFill>
            </a:rPr>
            <a:t>Analytical Tool Repository</a:t>
          </a:r>
        </a:p>
        <a:p>
          <a:pPr lvl="0" algn="ctr" defTabSz="488950">
            <a:lnSpc>
              <a:spcPct val="90000"/>
            </a:lnSpc>
            <a:spcBef>
              <a:spcPct val="0"/>
            </a:spcBef>
            <a:spcAft>
              <a:spcPct val="35000"/>
            </a:spcAft>
          </a:pPr>
          <a:r>
            <a:rPr lang="en-US" sz="1100" kern="1200" dirty="0" smtClean="0">
              <a:solidFill>
                <a:srgbClr val="FFFFFF"/>
              </a:solidFill>
            </a:rPr>
            <a:t>Not Yet Authorized</a:t>
          </a:r>
          <a:endParaRPr lang="en-US" sz="1100" kern="1200" dirty="0">
            <a:solidFill>
              <a:srgbClr val="FFFFFF"/>
            </a:solidFill>
          </a:endParaRPr>
        </a:p>
      </dsp:txBody>
      <dsp:txXfrm>
        <a:off x="1784384" y="3493277"/>
        <a:ext cx="2224323" cy="612550"/>
      </dsp:txXfrm>
    </dsp:sp>
    <dsp:sp modelId="{2D0149C7-3A07-2940-8143-227FD5D40F59}">
      <dsp:nvSpPr>
        <dsp:cNvPr id="0" name=""/>
        <dsp:cNvSpPr/>
      </dsp:nvSpPr>
      <dsp:spPr>
        <a:xfrm>
          <a:off x="4115904" y="3545343"/>
          <a:ext cx="1271041" cy="508416"/>
        </a:xfrm>
        <a:prstGeom prst="chevron">
          <a:avLst/>
        </a:prstGeom>
        <a:no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endParaRPr lang="en-US" sz="800" kern="1200" dirty="0">
            <a:solidFill>
              <a:schemeClr val="tx1"/>
            </a:solidFill>
          </a:endParaRPr>
        </a:p>
      </dsp:txBody>
      <dsp:txXfrm>
        <a:off x="4370112" y="3545343"/>
        <a:ext cx="762625" cy="508416"/>
      </dsp:txXfrm>
    </dsp:sp>
    <dsp:sp modelId="{88AC32BE-C9DA-A742-8963-D99D3F453246}">
      <dsp:nvSpPr>
        <dsp:cNvPr id="0" name=""/>
        <dsp:cNvSpPr/>
      </dsp:nvSpPr>
      <dsp:spPr>
        <a:xfrm>
          <a:off x="5209000" y="3545343"/>
          <a:ext cx="1271041" cy="508416"/>
        </a:xfrm>
        <a:prstGeom prst="chevron">
          <a:avLst/>
        </a:prstGeom>
        <a:solidFill>
          <a:schemeClr val="accent2">
            <a:lumMod val="60000"/>
            <a:lumOff val="40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r>
            <a:rPr lang="en-US" sz="800" kern="1200" dirty="0" smtClean="0">
              <a:solidFill>
                <a:schemeClr val="tx1"/>
              </a:solidFill>
            </a:rPr>
            <a:t>Integrating Tools</a:t>
          </a:r>
          <a:endParaRPr lang="en-US" sz="800" kern="1200" dirty="0">
            <a:solidFill>
              <a:schemeClr val="tx1"/>
            </a:solidFill>
          </a:endParaRPr>
        </a:p>
      </dsp:txBody>
      <dsp:txXfrm>
        <a:off x="5463208" y="3545343"/>
        <a:ext cx="762625" cy="508416"/>
      </dsp:txXfrm>
    </dsp:sp>
    <dsp:sp modelId="{11C3272A-76B9-7448-B450-0D8FE104AA3D}">
      <dsp:nvSpPr>
        <dsp:cNvPr id="0" name=""/>
        <dsp:cNvSpPr/>
      </dsp:nvSpPr>
      <dsp:spPr>
        <a:xfrm>
          <a:off x="6302097" y="3545343"/>
          <a:ext cx="1271041" cy="508416"/>
        </a:xfrm>
        <a:prstGeom prst="chevron">
          <a:avLst/>
        </a:prstGeom>
        <a:solidFill>
          <a:schemeClr val="accent2">
            <a:lumMod val="60000"/>
            <a:lumOff val="40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r>
            <a:rPr lang="en-US" sz="800" kern="1200" dirty="0" smtClean="0">
              <a:solidFill>
                <a:schemeClr val="tx1"/>
              </a:solidFill>
            </a:rPr>
            <a:t>Full capability</a:t>
          </a:r>
          <a:endParaRPr lang="en-US" sz="800" kern="1200" dirty="0">
            <a:solidFill>
              <a:schemeClr val="tx1"/>
            </a:solidFill>
          </a:endParaRPr>
        </a:p>
      </dsp:txBody>
      <dsp:txXfrm>
        <a:off x="6556305" y="3545343"/>
        <a:ext cx="762625" cy="508416"/>
      </dsp:txXfrm>
    </dsp:sp>
    <dsp:sp modelId="{947F4C9E-7F20-6345-94DB-2E23ACCCF372}">
      <dsp:nvSpPr>
        <dsp:cNvPr id="0" name=""/>
        <dsp:cNvSpPr/>
      </dsp:nvSpPr>
      <dsp:spPr>
        <a:xfrm>
          <a:off x="1478109" y="4191584"/>
          <a:ext cx="2836873" cy="612550"/>
        </a:xfrm>
        <a:prstGeom prst="chevron">
          <a:avLst/>
        </a:prstGeom>
        <a:solidFill>
          <a:schemeClr val="bg2">
            <a:lumMod val="10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3970" tIns="6985" rIns="0" bIns="6985" numCol="1" spcCol="1270" anchor="ctr" anchorCtr="0">
          <a:noAutofit/>
        </a:bodyPr>
        <a:lstStyle/>
        <a:p>
          <a:pPr lvl="0" algn="ctr" defTabSz="488950">
            <a:lnSpc>
              <a:spcPct val="90000"/>
            </a:lnSpc>
            <a:spcBef>
              <a:spcPct val="0"/>
            </a:spcBef>
            <a:spcAft>
              <a:spcPct val="35000"/>
            </a:spcAft>
          </a:pPr>
          <a:r>
            <a:rPr lang="en-US" sz="1100" kern="1200" dirty="0" smtClean="0">
              <a:solidFill>
                <a:srgbClr val="FFFFFF"/>
              </a:solidFill>
            </a:rPr>
            <a:t>H-Gene</a:t>
          </a:r>
        </a:p>
        <a:p>
          <a:pPr lvl="0" algn="ctr" defTabSz="488950">
            <a:lnSpc>
              <a:spcPct val="90000"/>
            </a:lnSpc>
            <a:spcBef>
              <a:spcPct val="0"/>
            </a:spcBef>
            <a:spcAft>
              <a:spcPct val="35000"/>
            </a:spcAft>
          </a:pPr>
          <a:r>
            <a:rPr lang="en-US" sz="1100" kern="1200" dirty="0" smtClean="0">
              <a:solidFill>
                <a:srgbClr val="FFFFFF"/>
              </a:solidFill>
            </a:rPr>
            <a:t>Human </a:t>
          </a:r>
          <a:r>
            <a:rPr lang="en-US" sz="1100" kern="1200" dirty="0" err="1" smtClean="0">
              <a:solidFill>
                <a:srgbClr val="FFFFFF"/>
              </a:solidFill>
            </a:rPr>
            <a:t>Omics</a:t>
          </a:r>
          <a:r>
            <a:rPr lang="en-US" sz="1100" kern="1200" dirty="0" smtClean="0">
              <a:solidFill>
                <a:srgbClr val="FFFFFF"/>
              </a:solidFill>
            </a:rPr>
            <a:t> Data</a:t>
          </a:r>
        </a:p>
        <a:p>
          <a:pPr lvl="0" algn="ctr" defTabSz="488950">
            <a:lnSpc>
              <a:spcPct val="90000"/>
            </a:lnSpc>
            <a:spcBef>
              <a:spcPct val="0"/>
            </a:spcBef>
            <a:spcAft>
              <a:spcPct val="35000"/>
            </a:spcAft>
          </a:pPr>
          <a:r>
            <a:rPr lang="en-US" sz="1100" kern="1200" dirty="0" smtClean="0">
              <a:solidFill>
                <a:srgbClr val="FFFFFF"/>
              </a:solidFill>
            </a:rPr>
            <a:t>Not Yet Authorized</a:t>
          </a:r>
          <a:endParaRPr lang="en-US" sz="1100" kern="1200" dirty="0">
            <a:solidFill>
              <a:srgbClr val="FFFFFF"/>
            </a:solidFill>
          </a:endParaRPr>
        </a:p>
      </dsp:txBody>
      <dsp:txXfrm>
        <a:off x="1784384" y="4191584"/>
        <a:ext cx="2224323" cy="612550"/>
      </dsp:txXfrm>
    </dsp:sp>
    <dsp:sp modelId="{03803A47-89AD-1241-8354-A7546298D963}">
      <dsp:nvSpPr>
        <dsp:cNvPr id="0" name=""/>
        <dsp:cNvSpPr/>
      </dsp:nvSpPr>
      <dsp:spPr>
        <a:xfrm>
          <a:off x="4115904" y="4243651"/>
          <a:ext cx="1271041" cy="508416"/>
        </a:xfrm>
        <a:prstGeom prst="chevron">
          <a:avLst/>
        </a:prstGeom>
        <a:solidFill>
          <a:srgbClr val="FFFFFF">
            <a:alpha val="90000"/>
          </a:srgb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endParaRPr lang="en-US" sz="800" kern="1200" dirty="0">
            <a:solidFill>
              <a:schemeClr val="tx1"/>
            </a:solidFill>
          </a:endParaRPr>
        </a:p>
      </dsp:txBody>
      <dsp:txXfrm>
        <a:off x="4370112" y="4243651"/>
        <a:ext cx="762625" cy="508416"/>
      </dsp:txXfrm>
    </dsp:sp>
    <dsp:sp modelId="{B30BF1C3-F7E3-A444-AAEE-DF156077A030}">
      <dsp:nvSpPr>
        <dsp:cNvPr id="0" name=""/>
        <dsp:cNvSpPr/>
      </dsp:nvSpPr>
      <dsp:spPr>
        <a:xfrm>
          <a:off x="5209000" y="4243651"/>
          <a:ext cx="1271041" cy="508416"/>
        </a:xfrm>
        <a:prstGeom prst="chevron">
          <a:avLst/>
        </a:prstGeom>
        <a:solidFill>
          <a:srgbClr val="FFFFFF">
            <a:alpha val="90000"/>
          </a:srgb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endParaRPr lang="en-US" sz="800" kern="1200" dirty="0">
            <a:solidFill>
              <a:schemeClr val="tx1"/>
            </a:solidFill>
          </a:endParaRPr>
        </a:p>
      </dsp:txBody>
      <dsp:txXfrm>
        <a:off x="5463208" y="4243651"/>
        <a:ext cx="762625" cy="508416"/>
      </dsp:txXfrm>
    </dsp:sp>
    <dsp:sp modelId="{0A713571-47C9-A946-B88D-EFDE794A555E}">
      <dsp:nvSpPr>
        <dsp:cNvPr id="0" name=""/>
        <dsp:cNvSpPr/>
      </dsp:nvSpPr>
      <dsp:spPr>
        <a:xfrm>
          <a:off x="6302097" y="4243651"/>
          <a:ext cx="1271041" cy="508416"/>
        </a:xfrm>
        <a:prstGeom prst="chevron">
          <a:avLst/>
        </a:prstGeom>
        <a:solidFill>
          <a:schemeClr val="bg2">
            <a:lumMod val="50000"/>
            <a:alpha val="9000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160" tIns="5080" rIns="0" bIns="5080" numCol="1" spcCol="1270" anchor="ctr" anchorCtr="0">
          <a:noAutofit/>
        </a:bodyPr>
        <a:lstStyle/>
        <a:p>
          <a:pPr lvl="0" algn="ctr" defTabSz="355600">
            <a:lnSpc>
              <a:spcPct val="90000"/>
            </a:lnSpc>
            <a:spcBef>
              <a:spcPct val="0"/>
            </a:spcBef>
            <a:spcAft>
              <a:spcPct val="35000"/>
            </a:spcAft>
          </a:pPr>
          <a:r>
            <a:rPr lang="en-US" sz="800" kern="1200" dirty="0" smtClean="0">
              <a:solidFill>
                <a:schemeClr val="tx1"/>
              </a:solidFill>
            </a:rPr>
            <a:t>Initial Capability</a:t>
          </a:r>
          <a:endParaRPr lang="en-US" sz="800" kern="1200" dirty="0">
            <a:solidFill>
              <a:schemeClr val="tx1"/>
            </a:solidFill>
          </a:endParaRPr>
        </a:p>
      </dsp:txBody>
      <dsp:txXfrm>
        <a:off x="6556305" y="4243651"/>
        <a:ext cx="762625" cy="5084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EF1A18-EFDD-5A41-B6CB-56BF43AF5E2D}">
      <dsp:nvSpPr>
        <dsp:cNvPr id="0" name=""/>
        <dsp:cNvSpPr/>
      </dsp:nvSpPr>
      <dsp:spPr>
        <a:xfrm>
          <a:off x="65100" y="0"/>
          <a:ext cx="3341482" cy="931168"/>
        </a:xfrm>
        <a:prstGeom prst="homePlate">
          <a:avLst/>
        </a:prstGeom>
        <a:solidFill>
          <a:schemeClr val="accent6">
            <a:lumMod val="60000"/>
            <a:lumOff val="4000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5344" tIns="42672" rIns="21336" bIns="42672" numCol="1" spcCol="1270" anchor="ctr" anchorCtr="0">
          <a:noAutofit/>
        </a:bodyPr>
        <a:lstStyle/>
        <a:p>
          <a:pPr lvl="0" algn="l" defTabSz="711200">
            <a:lnSpc>
              <a:spcPct val="90000"/>
            </a:lnSpc>
            <a:spcBef>
              <a:spcPct val="0"/>
            </a:spcBef>
            <a:spcAft>
              <a:spcPct val="35000"/>
            </a:spcAft>
          </a:pPr>
          <a:r>
            <a:rPr lang="en-US" sz="1600" b="1" kern="1200" dirty="0" smtClean="0">
              <a:solidFill>
                <a:srgbClr val="000000"/>
              </a:solidFill>
            </a:rPr>
            <a:t>         Phase 1</a:t>
          </a:r>
          <a:br>
            <a:rPr lang="en-US" sz="1600" b="1" kern="1200" dirty="0" smtClean="0">
              <a:solidFill>
                <a:srgbClr val="000000"/>
              </a:solidFill>
            </a:rPr>
          </a:br>
          <a:r>
            <a:rPr lang="en-US" sz="1600" b="1" kern="1200" dirty="0" smtClean="0">
              <a:solidFill>
                <a:srgbClr val="000000"/>
              </a:solidFill>
            </a:rPr>
            <a:t>    </a:t>
          </a:r>
          <a:r>
            <a:rPr lang="en-US" sz="1600" b="0" kern="1200" dirty="0" smtClean="0">
              <a:solidFill>
                <a:srgbClr val="000000"/>
              </a:solidFill>
            </a:rPr>
            <a:t>Searchable Data</a:t>
          </a:r>
          <a:r>
            <a:rPr lang="en-US" sz="1400" kern="1200" dirty="0" smtClean="0">
              <a:solidFill>
                <a:srgbClr val="000000"/>
              </a:solidFill>
            </a:rPr>
            <a:t/>
          </a:r>
          <a:br>
            <a:rPr lang="en-US" sz="1400" kern="1200" dirty="0" smtClean="0">
              <a:solidFill>
                <a:srgbClr val="000000"/>
              </a:solidFill>
            </a:rPr>
          </a:br>
          <a:r>
            <a:rPr lang="en-US" sz="1400" kern="1200" dirty="0" smtClean="0">
              <a:solidFill>
                <a:srgbClr val="000000"/>
              </a:solidFill>
            </a:rPr>
            <a:t>       FY2014 –2015</a:t>
          </a:r>
          <a:endParaRPr lang="en-US" sz="1400" kern="1200" dirty="0">
            <a:solidFill>
              <a:srgbClr val="000000"/>
            </a:solidFill>
          </a:endParaRPr>
        </a:p>
      </dsp:txBody>
      <dsp:txXfrm>
        <a:off x="65100" y="0"/>
        <a:ext cx="3108690" cy="931168"/>
      </dsp:txXfrm>
    </dsp:sp>
    <dsp:sp modelId="{489432F9-D88A-104E-B4E1-D631ACB7E33B}">
      <dsp:nvSpPr>
        <dsp:cNvPr id="0" name=""/>
        <dsp:cNvSpPr/>
      </dsp:nvSpPr>
      <dsp:spPr>
        <a:xfrm>
          <a:off x="2117302" y="0"/>
          <a:ext cx="3151564" cy="931168"/>
        </a:xfrm>
        <a:prstGeom prst="chevron">
          <a:avLst/>
        </a:prstGeom>
        <a:solidFill>
          <a:srgbClr val="FAC090"/>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008" tIns="42672" rIns="21336" bIns="42672" numCol="1" spcCol="1270" anchor="ctr" anchorCtr="0">
          <a:noAutofit/>
        </a:bodyPr>
        <a:lstStyle/>
        <a:p>
          <a:pPr lvl="0" algn="l" defTabSz="711200">
            <a:lnSpc>
              <a:spcPct val="60000"/>
            </a:lnSpc>
            <a:spcBef>
              <a:spcPct val="0"/>
            </a:spcBef>
            <a:spcAft>
              <a:spcPct val="35000"/>
            </a:spcAft>
          </a:pPr>
          <a:r>
            <a:rPr lang="en-US" sz="1600" b="1" kern="1200" dirty="0" smtClean="0">
              <a:solidFill>
                <a:srgbClr val="000000"/>
              </a:solidFill>
            </a:rPr>
            <a:t>         Phase 2</a:t>
          </a:r>
        </a:p>
        <a:p>
          <a:pPr lvl="0" algn="l" defTabSz="711200">
            <a:lnSpc>
              <a:spcPct val="60000"/>
            </a:lnSpc>
            <a:spcBef>
              <a:spcPct val="0"/>
            </a:spcBef>
            <a:spcAft>
              <a:spcPct val="35000"/>
            </a:spcAft>
          </a:pPr>
          <a:r>
            <a:rPr lang="en-US" sz="1600" b="0" kern="1200" dirty="0" smtClean="0">
              <a:solidFill>
                <a:srgbClr val="000000"/>
              </a:solidFill>
            </a:rPr>
            <a:t>      Data Exchange</a:t>
          </a:r>
        </a:p>
        <a:p>
          <a:pPr lvl="0" algn="l" defTabSz="711200">
            <a:lnSpc>
              <a:spcPct val="60000"/>
            </a:lnSpc>
            <a:spcBef>
              <a:spcPct val="0"/>
            </a:spcBef>
            <a:spcAft>
              <a:spcPct val="35000"/>
            </a:spcAft>
          </a:pPr>
          <a:r>
            <a:rPr lang="en-US" sz="1400" b="0" kern="1200" dirty="0" smtClean="0">
              <a:solidFill>
                <a:srgbClr val="000000"/>
              </a:solidFill>
            </a:rPr>
            <a:t>        FY2015-2016</a:t>
          </a:r>
          <a:endParaRPr lang="en-US" sz="1400" b="0" kern="1200" dirty="0">
            <a:solidFill>
              <a:srgbClr val="000000"/>
            </a:solidFill>
          </a:endParaRPr>
        </a:p>
      </dsp:txBody>
      <dsp:txXfrm>
        <a:off x="2582886" y="0"/>
        <a:ext cx="2220396" cy="931168"/>
      </dsp:txXfrm>
    </dsp:sp>
    <dsp:sp modelId="{E1B21308-84D6-654C-94BB-E7F17DE0748C}">
      <dsp:nvSpPr>
        <dsp:cNvPr id="0" name=""/>
        <dsp:cNvSpPr/>
      </dsp:nvSpPr>
      <dsp:spPr>
        <a:xfrm>
          <a:off x="4468628" y="0"/>
          <a:ext cx="3796012" cy="931168"/>
        </a:xfrm>
        <a:prstGeom prst="chevron">
          <a:avLst/>
        </a:prstGeom>
        <a:solidFill>
          <a:srgbClr val="FAC090"/>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008" tIns="42672" rIns="21336" bIns="42672" numCol="1" spcCol="1270" anchor="ctr" anchorCtr="0">
          <a:noAutofit/>
        </a:bodyPr>
        <a:lstStyle/>
        <a:p>
          <a:pPr lvl="0" algn="l" defTabSz="711200">
            <a:lnSpc>
              <a:spcPct val="60000"/>
            </a:lnSpc>
            <a:spcBef>
              <a:spcPct val="0"/>
            </a:spcBef>
            <a:spcAft>
              <a:spcPct val="35000"/>
            </a:spcAft>
          </a:pPr>
          <a:r>
            <a:rPr lang="en-US" sz="1600" b="1" kern="1200" dirty="0" smtClean="0">
              <a:solidFill>
                <a:srgbClr val="000000"/>
              </a:solidFill>
            </a:rPr>
            <a:t>       Phase 3</a:t>
          </a:r>
        </a:p>
        <a:p>
          <a:pPr lvl="0" algn="l" defTabSz="711200">
            <a:lnSpc>
              <a:spcPct val="60000"/>
            </a:lnSpc>
            <a:spcBef>
              <a:spcPct val="0"/>
            </a:spcBef>
            <a:spcAft>
              <a:spcPct val="35000"/>
            </a:spcAft>
          </a:pPr>
          <a:r>
            <a:rPr lang="en-US" sz="1600" b="0" kern="1200" dirty="0" smtClean="0">
              <a:solidFill>
                <a:srgbClr val="000000"/>
              </a:solidFill>
            </a:rPr>
            <a:t>  System Integration</a:t>
          </a:r>
          <a:r>
            <a:rPr lang="en-US" sz="1600" b="1" kern="1200" dirty="0" smtClean="0">
              <a:solidFill>
                <a:srgbClr val="000000"/>
              </a:solidFill>
            </a:rPr>
            <a:t> </a:t>
          </a:r>
        </a:p>
        <a:p>
          <a:pPr lvl="0" algn="l" defTabSz="711200">
            <a:lnSpc>
              <a:spcPct val="60000"/>
            </a:lnSpc>
            <a:spcBef>
              <a:spcPct val="0"/>
            </a:spcBef>
            <a:spcAft>
              <a:spcPct val="35000"/>
            </a:spcAft>
          </a:pPr>
          <a:r>
            <a:rPr lang="en-US" sz="1400" kern="1200" dirty="0" smtClean="0">
              <a:solidFill>
                <a:srgbClr val="000000"/>
              </a:solidFill>
            </a:rPr>
            <a:t>     FY2017 – 2018</a:t>
          </a:r>
          <a:endParaRPr lang="en-US" sz="1400" kern="1200" dirty="0">
            <a:solidFill>
              <a:srgbClr val="000000"/>
            </a:solidFill>
          </a:endParaRPr>
        </a:p>
      </dsp:txBody>
      <dsp:txXfrm>
        <a:off x="4934212" y="0"/>
        <a:ext cx="2864844" cy="931168"/>
      </dsp:txXfrm>
    </dsp:sp>
    <dsp:sp modelId="{C01C9B31-3493-7A43-A3C4-3B5E13CA68AA}">
      <dsp:nvSpPr>
        <dsp:cNvPr id="0" name=""/>
        <dsp:cNvSpPr/>
      </dsp:nvSpPr>
      <dsp:spPr>
        <a:xfrm>
          <a:off x="6585319" y="0"/>
          <a:ext cx="2436437" cy="931168"/>
        </a:xfrm>
        <a:prstGeom prst="chevron">
          <a:avLst/>
        </a:prstGeom>
        <a:solidFill>
          <a:srgbClr val="FAC090"/>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008" tIns="42672" rIns="21336" bIns="42672" numCol="1" spcCol="1270" anchor="ctr" anchorCtr="0">
          <a:noAutofit/>
        </a:bodyPr>
        <a:lstStyle/>
        <a:p>
          <a:pPr lvl="0" algn="ctr" defTabSz="711200">
            <a:lnSpc>
              <a:spcPct val="60000"/>
            </a:lnSpc>
            <a:spcBef>
              <a:spcPct val="0"/>
            </a:spcBef>
            <a:spcAft>
              <a:spcPct val="35000"/>
            </a:spcAft>
          </a:pPr>
          <a:r>
            <a:rPr lang="en-US" sz="1600" b="1" kern="1200" dirty="0" smtClean="0">
              <a:solidFill>
                <a:srgbClr val="000000"/>
              </a:solidFill>
            </a:rPr>
            <a:t>Phase 4</a:t>
          </a:r>
        </a:p>
        <a:p>
          <a:pPr lvl="0" algn="ctr" defTabSz="711200">
            <a:lnSpc>
              <a:spcPct val="60000"/>
            </a:lnSpc>
            <a:spcBef>
              <a:spcPct val="0"/>
            </a:spcBef>
            <a:spcAft>
              <a:spcPct val="35000"/>
            </a:spcAft>
          </a:pPr>
          <a:r>
            <a:rPr lang="en-US" sz="1600" b="0" kern="1200" dirty="0" smtClean="0">
              <a:solidFill>
                <a:srgbClr val="000000"/>
              </a:solidFill>
            </a:rPr>
            <a:t> Implementation</a:t>
          </a:r>
        </a:p>
        <a:p>
          <a:pPr lvl="0" algn="ctr" defTabSz="711200">
            <a:lnSpc>
              <a:spcPct val="60000"/>
            </a:lnSpc>
            <a:spcBef>
              <a:spcPct val="0"/>
            </a:spcBef>
            <a:spcAft>
              <a:spcPct val="35000"/>
            </a:spcAft>
          </a:pPr>
          <a:r>
            <a:rPr lang="en-US" sz="1400" kern="1200" dirty="0" smtClean="0">
              <a:solidFill>
                <a:srgbClr val="000000"/>
              </a:solidFill>
            </a:rPr>
            <a:t>FY2019 – 2021</a:t>
          </a:r>
          <a:endParaRPr lang="en-US" sz="1400" b="1" kern="1200" dirty="0" smtClean="0">
            <a:solidFill>
              <a:srgbClr val="000000"/>
            </a:solidFill>
          </a:endParaRPr>
        </a:p>
      </dsp:txBody>
      <dsp:txXfrm>
        <a:off x="7050903" y="0"/>
        <a:ext cx="1505269" cy="931168"/>
      </dsp:txXfrm>
    </dsp:sp>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B94D74B-F4D2-3F40-B20A-1EC87514676C}" type="datetimeFigureOut">
              <a:rPr lang="en-US" smtClean="0"/>
              <a:t>1/14/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E57EE98-5E0B-934D-BD79-F643384F4A49}" type="slidenum">
              <a:rPr lang="en-US" smtClean="0"/>
              <a:t>‹#›</a:t>
            </a:fld>
            <a:endParaRPr lang="en-US"/>
          </a:p>
        </p:txBody>
      </p:sp>
    </p:spTree>
    <p:extLst>
      <p:ext uri="{BB962C8B-B14F-4D97-AF65-F5344CB8AC3E}">
        <p14:creationId xmlns:p14="http://schemas.microsoft.com/office/powerpoint/2010/main" val="261814485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8EB546A-59D1-7E47-9CC7-42BBE97668CF}" type="datetimeFigureOut">
              <a:rPr lang="en-US" smtClean="0"/>
              <a:t>1/14/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2FFCE18-4F7B-8A45-8A98-41AC750FB6FD}" type="slidenum">
              <a:rPr lang="en-US" smtClean="0"/>
              <a:t>‹#›</a:t>
            </a:fld>
            <a:endParaRPr lang="en-US"/>
          </a:p>
        </p:txBody>
      </p:sp>
    </p:spTree>
    <p:extLst>
      <p:ext uri="{BB962C8B-B14F-4D97-AF65-F5344CB8AC3E}">
        <p14:creationId xmlns:p14="http://schemas.microsoft.com/office/powerpoint/2010/main" val="2057704511"/>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mailto:d.marshall.porterfield@nasa.gov" TargetMode="External"/><Relationship Id="rId2" Type="http://schemas.openxmlformats.org/officeDocument/2006/relationships/slide" Target="../slides/slide2.xml"/><Relationship Id="rId1" Type="http://schemas.openxmlformats.org/officeDocument/2006/relationships/notesMaster" Target="../notesMasters/notesMaster1.xml"/><Relationship Id="rId5" Type="http://schemas.openxmlformats.org/officeDocument/2006/relationships/hyperlink" Target="mailto:porterf@purdue.edu" TargetMode="External"/><Relationship Id="rId4" Type="http://schemas.openxmlformats.org/officeDocument/2006/relationships/hyperlink" Target="http://www.purdue.edu/dp/psf"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mailto:d.marshall.porterfield@nasa.gov" TargetMode="External"/><Relationship Id="rId2" Type="http://schemas.openxmlformats.org/officeDocument/2006/relationships/slide" Target="../slides/slide3.xml"/><Relationship Id="rId1" Type="http://schemas.openxmlformats.org/officeDocument/2006/relationships/notesMaster" Target="../notesMasters/notesMaster1.xml"/><Relationship Id="rId5" Type="http://schemas.openxmlformats.org/officeDocument/2006/relationships/hyperlink" Target="mailto:porterf@purdue.edu" TargetMode="External"/><Relationship Id="rId4" Type="http://schemas.openxmlformats.org/officeDocument/2006/relationships/hyperlink" Target="http://www.purdue.edu/dp/psf"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mailto:d.marshall.porterfield@nasa.gov" TargetMode="External"/><Relationship Id="rId2" Type="http://schemas.openxmlformats.org/officeDocument/2006/relationships/slide" Target="../slides/slide4.xml"/><Relationship Id="rId1" Type="http://schemas.openxmlformats.org/officeDocument/2006/relationships/notesMaster" Target="../notesMasters/notesMaster1.xml"/><Relationship Id="rId5" Type="http://schemas.openxmlformats.org/officeDocument/2006/relationships/hyperlink" Target="mailto:porterf@purdue.edu" TargetMode="External"/><Relationship Id="rId4" Type="http://schemas.openxmlformats.org/officeDocument/2006/relationships/hyperlink" Target="http://www.purdue.edu/dp/psf"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mailto:d.marshall.porterfield@nasa.gov" TargetMode="External"/><Relationship Id="rId2" Type="http://schemas.openxmlformats.org/officeDocument/2006/relationships/slide" Target="../slides/slide5.xml"/><Relationship Id="rId1" Type="http://schemas.openxmlformats.org/officeDocument/2006/relationships/notesMaster" Target="../notesMasters/notesMaster1.xml"/><Relationship Id="rId5" Type="http://schemas.openxmlformats.org/officeDocument/2006/relationships/hyperlink" Target="mailto:porterf@purdue.edu" TargetMode="External"/><Relationship Id="rId4" Type="http://schemas.openxmlformats.org/officeDocument/2006/relationships/hyperlink" Target="http://www.purdue.edu/dp/psf"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 Marshall Porterfield</a:t>
            </a:r>
          </a:p>
          <a:p>
            <a:r>
              <a:rPr lang="en-US" dirty="0"/>
              <a:t>Division Director, Space Life and Physical Sciences</a:t>
            </a:r>
          </a:p>
          <a:p>
            <a:r>
              <a:rPr lang="en-US" dirty="0"/>
              <a:t>Human Exploration and Operations Mission Directorate</a:t>
            </a:r>
          </a:p>
          <a:p>
            <a:r>
              <a:rPr lang="en-US" dirty="0"/>
              <a:t>NASA Headquarters, Washington, DC</a:t>
            </a:r>
          </a:p>
          <a:p>
            <a:r>
              <a:rPr lang="en-US" dirty="0"/>
              <a:t>Email: </a:t>
            </a:r>
            <a:r>
              <a:rPr lang="en-US" u="sng" dirty="0">
                <a:hlinkClick r:id="rId3"/>
              </a:rPr>
              <a:t>d.marshall.porterfield@nasa.gov</a:t>
            </a:r>
          </a:p>
          <a:p>
            <a:r>
              <a:rPr lang="en-US" dirty="0"/>
              <a:t>Phone: 202.358.2456</a:t>
            </a:r>
          </a:p>
          <a:p>
            <a:r>
              <a:rPr lang="en-US" dirty="0"/>
              <a:t>Cell: 765.412.6792</a:t>
            </a:r>
          </a:p>
          <a:p>
            <a:r>
              <a:rPr lang="en-US" dirty="0"/>
              <a:t> </a:t>
            </a:r>
          </a:p>
          <a:p>
            <a:r>
              <a:rPr lang="en-US" dirty="0"/>
              <a:t>Professor of Biological Engineering</a:t>
            </a:r>
          </a:p>
          <a:p>
            <a:r>
              <a:rPr lang="en-US" dirty="0"/>
              <a:t>Purdue University</a:t>
            </a:r>
          </a:p>
          <a:p>
            <a:r>
              <a:rPr lang="en-US" dirty="0"/>
              <a:t>225 South University Street</a:t>
            </a:r>
          </a:p>
          <a:p>
            <a:r>
              <a:rPr lang="tr-TR" dirty="0"/>
              <a:t>West </a:t>
            </a:r>
            <a:r>
              <a:rPr lang="tr-TR" dirty="0" err="1"/>
              <a:t>Lafayette</a:t>
            </a:r>
            <a:r>
              <a:rPr lang="tr-TR" dirty="0"/>
              <a:t>, IN 47907-2093</a:t>
            </a:r>
          </a:p>
          <a:p>
            <a:r>
              <a:rPr lang="tr-TR" dirty="0"/>
              <a:t>Web: </a:t>
            </a:r>
            <a:r>
              <a:rPr lang="tr-TR" u="sng" dirty="0">
                <a:hlinkClick r:id="rId4"/>
              </a:rPr>
              <a:t>www.purdue.edu/dp/psf</a:t>
            </a:r>
          </a:p>
          <a:p>
            <a:r>
              <a:rPr lang="tr-TR" dirty="0" err="1"/>
              <a:t>Email</a:t>
            </a:r>
            <a:r>
              <a:rPr lang="tr-TR" dirty="0"/>
              <a:t>: </a:t>
            </a:r>
            <a:r>
              <a:rPr lang="tr-TR" u="sng" dirty="0">
                <a:hlinkClick r:id="rId5"/>
              </a:rPr>
              <a:t>porterf@purdue.edu</a:t>
            </a:r>
          </a:p>
          <a:p>
            <a:r>
              <a:rPr lang="tr-TR" dirty="0"/>
              <a:t>Phone: 765.494.1190</a:t>
            </a:r>
            <a:endParaRPr lang="en-US" dirty="0"/>
          </a:p>
        </p:txBody>
      </p:sp>
      <p:sp>
        <p:nvSpPr>
          <p:cNvPr id="4" name="Slide Number Placeholder 3"/>
          <p:cNvSpPr>
            <a:spLocks noGrp="1"/>
          </p:cNvSpPr>
          <p:nvPr>
            <p:ph type="sldNum" sz="quarter" idx="10"/>
          </p:nvPr>
        </p:nvSpPr>
        <p:spPr/>
        <p:txBody>
          <a:bodyPr/>
          <a:lstStyle/>
          <a:p>
            <a:fld id="{A93D2213-812C-EC4A-8992-982409B5FF53}" type="slidenum">
              <a:rPr lang="en-US" smtClean="0">
                <a:solidFill>
                  <a:prstClr val="black"/>
                </a:solidFill>
                <a:latin typeface="Calibri"/>
              </a:rPr>
              <a:pPr/>
              <a:t>2</a:t>
            </a:fld>
            <a:endParaRPr lang="en-US">
              <a:solidFill>
                <a:prstClr val="black"/>
              </a:solidFill>
              <a:latin typeface="Calibri"/>
            </a:endParaRPr>
          </a:p>
        </p:txBody>
      </p:sp>
    </p:spTree>
    <p:extLst>
      <p:ext uri="{BB962C8B-B14F-4D97-AF65-F5344CB8AC3E}">
        <p14:creationId xmlns:p14="http://schemas.microsoft.com/office/powerpoint/2010/main" val="1112436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Here is what we have now, with 47 datasets by</a:t>
            </a:r>
            <a:r>
              <a:rPr lang="en-US" b="1" baseline="0" dirty="0" smtClean="0"/>
              <a:t> that time</a:t>
            </a:r>
          </a:p>
          <a:p>
            <a:endParaRPr lang="en-US" b="1" baseline="0" dirty="0" smtClean="0"/>
          </a:p>
          <a:p>
            <a:r>
              <a:rPr lang="en-US" b="1" baseline="0" dirty="0" smtClean="0"/>
              <a:t>I replaced this page with a current screen capture – will need to replace again when my name is at the bottom</a:t>
            </a:r>
            <a:endParaRPr lang="en-US" b="1" dirty="0"/>
          </a:p>
        </p:txBody>
      </p:sp>
      <p:sp>
        <p:nvSpPr>
          <p:cNvPr id="4" name="Slide Number Placeholder 3"/>
          <p:cNvSpPr>
            <a:spLocks noGrp="1"/>
          </p:cNvSpPr>
          <p:nvPr>
            <p:ph type="sldNum" sz="quarter" idx="10"/>
          </p:nvPr>
        </p:nvSpPr>
        <p:spPr/>
        <p:txBody>
          <a:bodyPr/>
          <a:lstStyle/>
          <a:p>
            <a:fld id="{A93D2213-812C-EC4A-8992-982409B5FF53}" type="slidenum">
              <a:rPr lang="en-US" smtClean="0">
                <a:solidFill>
                  <a:prstClr val="black"/>
                </a:solidFill>
                <a:latin typeface="Calibri"/>
              </a:rPr>
              <a:pPr/>
              <a:t>13</a:t>
            </a:fld>
            <a:endParaRPr lang="en-US">
              <a:solidFill>
                <a:prstClr val="black"/>
              </a:solidFill>
              <a:latin typeface="Calibri"/>
            </a:endParaRPr>
          </a:p>
        </p:txBody>
      </p:sp>
    </p:spTree>
    <p:extLst>
      <p:ext uri="{BB962C8B-B14F-4D97-AF65-F5344CB8AC3E}">
        <p14:creationId xmlns:p14="http://schemas.microsoft.com/office/powerpoint/2010/main" val="18601708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This shows data from all the organism types</a:t>
            </a:r>
            <a:r>
              <a:rPr lang="en-US" b="1" baseline="0" dirty="0" smtClean="0"/>
              <a:t> hosted in GLDS</a:t>
            </a:r>
          </a:p>
          <a:p>
            <a:r>
              <a:rPr lang="en-US" b="1" baseline="0" dirty="0" smtClean="0"/>
              <a:t>Searchable metadata</a:t>
            </a:r>
          </a:p>
          <a:p>
            <a:endParaRPr lang="en-US" dirty="0"/>
          </a:p>
        </p:txBody>
      </p:sp>
      <p:sp>
        <p:nvSpPr>
          <p:cNvPr id="4" name="Slide Number Placeholder 3"/>
          <p:cNvSpPr>
            <a:spLocks noGrp="1"/>
          </p:cNvSpPr>
          <p:nvPr>
            <p:ph type="sldNum" sz="quarter" idx="10"/>
          </p:nvPr>
        </p:nvSpPr>
        <p:spPr/>
        <p:txBody>
          <a:bodyPr/>
          <a:lstStyle/>
          <a:p>
            <a:fld id="{A93D2213-812C-EC4A-8992-982409B5FF53}" type="slidenum">
              <a:rPr lang="en-US" smtClean="0">
                <a:solidFill>
                  <a:prstClr val="black"/>
                </a:solidFill>
                <a:latin typeface="Calibri"/>
              </a:rPr>
              <a:pPr/>
              <a:t>14</a:t>
            </a:fld>
            <a:endParaRPr lang="en-US">
              <a:solidFill>
                <a:prstClr val="black"/>
              </a:solidFill>
              <a:latin typeface="Calibri"/>
            </a:endParaRPr>
          </a:p>
        </p:txBody>
      </p:sp>
    </p:spTree>
    <p:extLst>
      <p:ext uri="{BB962C8B-B14F-4D97-AF65-F5344CB8AC3E}">
        <p14:creationId xmlns:p14="http://schemas.microsoft.com/office/powerpoint/2010/main" val="16772538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ederation</a:t>
            </a:r>
            <a:endParaRPr lang="en-US" dirty="0"/>
          </a:p>
        </p:txBody>
      </p:sp>
      <p:sp>
        <p:nvSpPr>
          <p:cNvPr id="4" name="Slide Number Placeholder 3"/>
          <p:cNvSpPr>
            <a:spLocks noGrp="1"/>
          </p:cNvSpPr>
          <p:nvPr>
            <p:ph type="sldNum" sz="quarter" idx="10"/>
          </p:nvPr>
        </p:nvSpPr>
        <p:spPr/>
        <p:txBody>
          <a:bodyPr/>
          <a:lstStyle/>
          <a:p>
            <a:pPr>
              <a:defRPr/>
            </a:pPr>
            <a:fld id="{3A3361AF-03EF-43B6-AE60-88AA32F41241}" type="slidenum">
              <a:rPr lang="en-US" smtClean="0">
                <a:solidFill>
                  <a:prstClr val="black"/>
                </a:solidFill>
                <a:latin typeface="Calibri"/>
              </a:rPr>
              <a:pPr>
                <a:defRPr/>
              </a:pPr>
              <a:t>15</a:t>
            </a:fld>
            <a:endParaRPr lang="en-US" dirty="0">
              <a:solidFill>
                <a:prstClr val="black"/>
              </a:solidFill>
              <a:latin typeface="Calibri"/>
            </a:endParaRPr>
          </a:p>
        </p:txBody>
      </p:sp>
    </p:spTree>
    <p:extLst>
      <p:ext uri="{BB962C8B-B14F-4D97-AF65-F5344CB8AC3E}">
        <p14:creationId xmlns:p14="http://schemas.microsoft.com/office/powerpoint/2010/main" val="37350237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ka</a:t>
            </a:r>
            <a:r>
              <a:rPr lang="en-US" baseline="0" dirty="0" smtClean="0"/>
              <a:t> </a:t>
            </a:r>
            <a:r>
              <a:rPr lang="en-US" b="1" baseline="0" dirty="0" smtClean="0"/>
              <a:t>R&amp;D slide</a:t>
            </a:r>
          </a:p>
          <a:p>
            <a:r>
              <a:rPr lang="en-US" b="0" baseline="0" dirty="0" smtClean="0">
                <a:solidFill>
                  <a:schemeClr val="accent2"/>
                </a:solidFill>
              </a:rPr>
              <a:t>Left Side: </a:t>
            </a:r>
            <a:r>
              <a:rPr lang="en-US" b="1" baseline="0" dirty="0" smtClean="0">
                <a:solidFill>
                  <a:schemeClr val="accent2"/>
                </a:solidFill>
              </a:rPr>
              <a:t>DATA INPUT from </a:t>
            </a:r>
            <a:r>
              <a:rPr lang="en-US" b="1" baseline="0" dirty="0" err="1" smtClean="0">
                <a:solidFill>
                  <a:schemeClr val="accent2"/>
                </a:solidFill>
              </a:rPr>
              <a:t>ConOps</a:t>
            </a:r>
            <a:endParaRPr lang="en-US" b="1" baseline="0" dirty="0" smtClean="0">
              <a:solidFill>
                <a:schemeClr val="accent2"/>
              </a:solidFill>
            </a:endParaRPr>
          </a:p>
          <a:p>
            <a:r>
              <a:rPr lang="en-US" b="0" baseline="0" dirty="0" smtClean="0">
                <a:solidFill>
                  <a:schemeClr val="accent2"/>
                </a:solidFill>
              </a:rPr>
              <a:t>Middle: </a:t>
            </a:r>
            <a:r>
              <a:rPr lang="en-US" b="1" baseline="0" dirty="0" smtClean="0">
                <a:solidFill>
                  <a:schemeClr val="accent2"/>
                </a:solidFill>
              </a:rPr>
              <a:t>EXISTING REPOSITORY  = PHASE 1</a:t>
            </a:r>
          </a:p>
          <a:p>
            <a:r>
              <a:rPr lang="en-US" b="0" baseline="0" dirty="0" smtClean="0">
                <a:solidFill>
                  <a:schemeClr val="accent2"/>
                </a:solidFill>
              </a:rPr>
              <a:t>Right: </a:t>
            </a:r>
            <a:r>
              <a:rPr lang="en-US" b="1" baseline="0" dirty="0" smtClean="0">
                <a:solidFill>
                  <a:schemeClr val="accent2"/>
                </a:solidFill>
              </a:rPr>
              <a:t>FUTURE CAPABILITIES  = PHASES 2-4</a:t>
            </a:r>
          </a:p>
          <a:p>
            <a:endParaRPr lang="en-US" b="1" dirty="0"/>
          </a:p>
        </p:txBody>
      </p:sp>
      <p:sp>
        <p:nvSpPr>
          <p:cNvPr id="4" name="Slide Number Placeholder 3"/>
          <p:cNvSpPr>
            <a:spLocks noGrp="1"/>
          </p:cNvSpPr>
          <p:nvPr>
            <p:ph type="sldNum" sz="quarter" idx="10"/>
          </p:nvPr>
        </p:nvSpPr>
        <p:spPr/>
        <p:txBody>
          <a:bodyPr/>
          <a:lstStyle/>
          <a:p>
            <a:fld id="{DC8CE873-A8A9-4D62-8F4D-63664250FEBF}" type="slidenum">
              <a:rPr lang="en-US" smtClean="0">
                <a:solidFill>
                  <a:prstClr val="black"/>
                </a:solidFill>
                <a:latin typeface="Calibri"/>
              </a:rPr>
              <a:pPr/>
              <a:t>18</a:t>
            </a:fld>
            <a:endParaRPr lang="en-US">
              <a:solidFill>
                <a:prstClr val="black"/>
              </a:solidFill>
              <a:latin typeface="Calibri"/>
            </a:endParaRPr>
          </a:p>
        </p:txBody>
      </p:sp>
    </p:spTree>
    <p:extLst>
      <p:ext uri="{BB962C8B-B14F-4D97-AF65-F5344CB8AC3E}">
        <p14:creationId xmlns:p14="http://schemas.microsoft.com/office/powerpoint/2010/main" val="4240870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aw data quickly.  Processed.   When steering committee.</a:t>
            </a:r>
            <a:r>
              <a:rPr lang="en-US" baseline="0" dirty="0" smtClean="0"/>
              <a:t>  </a:t>
            </a:r>
            <a:endParaRPr lang="en-US" dirty="0"/>
          </a:p>
        </p:txBody>
      </p:sp>
      <p:sp>
        <p:nvSpPr>
          <p:cNvPr id="4" name="Slide Number Placeholder 3"/>
          <p:cNvSpPr>
            <a:spLocks noGrp="1"/>
          </p:cNvSpPr>
          <p:nvPr>
            <p:ph type="sldNum" sz="quarter" idx="10"/>
          </p:nvPr>
        </p:nvSpPr>
        <p:spPr/>
        <p:txBody>
          <a:bodyPr/>
          <a:lstStyle/>
          <a:p>
            <a:fld id="{DC8CE873-A8A9-4D62-8F4D-63664250FEBF}" type="slidenum">
              <a:rPr lang="en-US" smtClean="0">
                <a:solidFill>
                  <a:prstClr val="black"/>
                </a:solidFill>
                <a:latin typeface="Calibri"/>
              </a:rPr>
              <a:pPr/>
              <a:t>19</a:t>
            </a:fld>
            <a:endParaRPr lang="en-US">
              <a:solidFill>
                <a:prstClr val="black"/>
              </a:solidFill>
              <a:latin typeface="Calibri"/>
            </a:endParaRPr>
          </a:p>
        </p:txBody>
      </p:sp>
    </p:spTree>
    <p:extLst>
      <p:ext uri="{BB962C8B-B14F-4D97-AF65-F5344CB8AC3E}">
        <p14:creationId xmlns:p14="http://schemas.microsoft.com/office/powerpoint/2010/main" val="6742312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 Marshall Porterfield</a:t>
            </a:r>
          </a:p>
          <a:p>
            <a:r>
              <a:rPr lang="en-US" dirty="0"/>
              <a:t>Division Director, Space Life and Physical Sciences</a:t>
            </a:r>
          </a:p>
          <a:p>
            <a:r>
              <a:rPr lang="en-US" dirty="0"/>
              <a:t>Human Exploration and Operations Mission Directorate</a:t>
            </a:r>
          </a:p>
          <a:p>
            <a:r>
              <a:rPr lang="en-US" dirty="0"/>
              <a:t>NASA Headquarters, Washington, DC</a:t>
            </a:r>
          </a:p>
          <a:p>
            <a:r>
              <a:rPr lang="en-US" dirty="0"/>
              <a:t>Email: </a:t>
            </a:r>
            <a:r>
              <a:rPr lang="en-US" u="sng" dirty="0">
                <a:hlinkClick r:id="rId3"/>
              </a:rPr>
              <a:t>d.marshall.porterfield@nasa.gov</a:t>
            </a:r>
          </a:p>
          <a:p>
            <a:r>
              <a:rPr lang="en-US" dirty="0"/>
              <a:t>Phone: 202.358.2456</a:t>
            </a:r>
          </a:p>
          <a:p>
            <a:r>
              <a:rPr lang="en-US" dirty="0"/>
              <a:t>Cell: 765.412.6792</a:t>
            </a:r>
          </a:p>
          <a:p>
            <a:r>
              <a:rPr lang="en-US" dirty="0"/>
              <a:t> </a:t>
            </a:r>
          </a:p>
          <a:p>
            <a:r>
              <a:rPr lang="en-US" dirty="0"/>
              <a:t>Professor of Biological Engineering</a:t>
            </a:r>
          </a:p>
          <a:p>
            <a:r>
              <a:rPr lang="en-US" dirty="0"/>
              <a:t>Purdue University</a:t>
            </a:r>
          </a:p>
          <a:p>
            <a:r>
              <a:rPr lang="en-US" dirty="0"/>
              <a:t>225 South University Street</a:t>
            </a:r>
          </a:p>
          <a:p>
            <a:r>
              <a:rPr lang="tr-TR" dirty="0"/>
              <a:t>West </a:t>
            </a:r>
            <a:r>
              <a:rPr lang="tr-TR" dirty="0" err="1"/>
              <a:t>Lafayette</a:t>
            </a:r>
            <a:r>
              <a:rPr lang="tr-TR" dirty="0"/>
              <a:t>, IN 47907-2093</a:t>
            </a:r>
          </a:p>
          <a:p>
            <a:r>
              <a:rPr lang="tr-TR" dirty="0"/>
              <a:t>Web: </a:t>
            </a:r>
            <a:r>
              <a:rPr lang="tr-TR" u="sng" dirty="0">
                <a:hlinkClick r:id="rId4"/>
              </a:rPr>
              <a:t>www.purdue.edu/dp/psf</a:t>
            </a:r>
          </a:p>
          <a:p>
            <a:r>
              <a:rPr lang="tr-TR" dirty="0" err="1"/>
              <a:t>Email</a:t>
            </a:r>
            <a:r>
              <a:rPr lang="tr-TR" dirty="0"/>
              <a:t>: </a:t>
            </a:r>
            <a:r>
              <a:rPr lang="tr-TR" u="sng" dirty="0">
                <a:hlinkClick r:id="rId5"/>
              </a:rPr>
              <a:t>porterf@purdue.edu</a:t>
            </a:r>
          </a:p>
          <a:p>
            <a:r>
              <a:rPr lang="tr-TR" dirty="0"/>
              <a:t>Phone: 765.494.1190</a:t>
            </a:r>
            <a:endParaRPr lang="en-US" dirty="0"/>
          </a:p>
        </p:txBody>
      </p:sp>
      <p:sp>
        <p:nvSpPr>
          <p:cNvPr id="4" name="Slide Number Placeholder 3"/>
          <p:cNvSpPr>
            <a:spLocks noGrp="1"/>
          </p:cNvSpPr>
          <p:nvPr>
            <p:ph type="sldNum" sz="quarter" idx="10"/>
          </p:nvPr>
        </p:nvSpPr>
        <p:spPr/>
        <p:txBody>
          <a:bodyPr/>
          <a:lstStyle/>
          <a:p>
            <a:fld id="{A93D2213-812C-EC4A-8992-982409B5FF53}" type="slidenum">
              <a:rPr lang="en-US" smtClean="0">
                <a:solidFill>
                  <a:prstClr val="black"/>
                </a:solidFill>
                <a:latin typeface="Calibri"/>
              </a:rPr>
              <a:pPr/>
              <a:t>3</a:t>
            </a:fld>
            <a:endParaRPr lang="en-US">
              <a:solidFill>
                <a:prstClr val="black"/>
              </a:solidFill>
              <a:latin typeface="Calibri"/>
            </a:endParaRPr>
          </a:p>
        </p:txBody>
      </p:sp>
    </p:spTree>
    <p:extLst>
      <p:ext uri="{BB962C8B-B14F-4D97-AF65-F5344CB8AC3E}">
        <p14:creationId xmlns:p14="http://schemas.microsoft.com/office/powerpoint/2010/main" val="1112436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 Marshall Porterfield</a:t>
            </a:r>
          </a:p>
          <a:p>
            <a:r>
              <a:rPr lang="en-US" dirty="0"/>
              <a:t>Division Director, Space Life and Physical Sciences</a:t>
            </a:r>
          </a:p>
          <a:p>
            <a:r>
              <a:rPr lang="en-US" dirty="0"/>
              <a:t>Human Exploration and Operations Mission Directorate</a:t>
            </a:r>
          </a:p>
          <a:p>
            <a:r>
              <a:rPr lang="en-US" dirty="0"/>
              <a:t>NASA Headquarters, Washington, DC</a:t>
            </a:r>
          </a:p>
          <a:p>
            <a:r>
              <a:rPr lang="en-US" dirty="0"/>
              <a:t>Email: </a:t>
            </a:r>
            <a:r>
              <a:rPr lang="en-US" u="sng" dirty="0">
                <a:hlinkClick r:id="rId3"/>
              </a:rPr>
              <a:t>d.marshall.porterfield@nasa.gov</a:t>
            </a:r>
          </a:p>
          <a:p>
            <a:r>
              <a:rPr lang="en-US" dirty="0"/>
              <a:t>Phone: 202.358.2456</a:t>
            </a:r>
          </a:p>
          <a:p>
            <a:r>
              <a:rPr lang="en-US" dirty="0"/>
              <a:t>Cell: 765.412.6792</a:t>
            </a:r>
          </a:p>
          <a:p>
            <a:r>
              <a:rPr lang="en-US" dirty="0"/>
              <a:t> </a:t>
            </a:r>
          </a:p>
          <a:p>
            <a:r>
              <a:rPr lang="en-US" dirty="0"/>
              <a:t>Professor of Biological Engineering</a:t>
            </a:r>
          </a:p>
          <a:p>
            <a:r>
              <a:rPr lang="en-US" dirty="0"/>
              <a:t>Purdue University</a:t>
            </a:r>
          </a:p>
          <a:p>
            <a:r>
              <a:rPr lang="en-US" dirty="0"/>
              <a:t>225 South University Street</a:t>
            </a:r>
          </a:p>
          <a:p>
            <a:r>
              <a:rPr lang="tr-TR" dirty="0"/>
              <a:t>West </a:t>
            </a:r>
            <a:r>
              <a:rPr lang="tr-TR" dirty="0" err="1"/>
              <a:t>Lafayette</a:t>
            </a:r>
            <a:r>
              <a:rPr lang="tr-TR" dirty="0"/>
              <a:t>, IN 47907-2093</a:t>
            </a:r>
          </a:p>
          <a:p>
            <a:r>
              <a:rPr lang="tr-TR" dirty="0"/>
              <a:t>Web: </a:t>
            </a:r>
            <a:r>
              <a:rPr lang="tr-TR" u="sng" dirty="0">
                <a:hlinkClick r:id="rId4"/>
              </a:rPr>
              <a:t>www.purdue.edu/dp/psf</a:t>
            </a:r>
          </a:p>
          <a:p>
            <a:r>
              <a:rPr lang="tr-TR" dirty="0" err="1"/>
              <a:t>Email</a:t>
            </a:r>
            <a:r>
              <a:rPr lang="tr-TR" dirty="0"/>
              <a:t>: </a:t>
            </a:r>
            <a:r>
              <a:rPr lang="tr-TR" u="sng" dirty="0">
                <a:hlinkClick r:id="rId5"/>
              </a:rPr>
              <a:t>porterf@purdue.edu</a:t>
            </a:r>
          </a:p>
          <a:p>
            <a:r>
              <a:rPr lang="tr-TR" dirty="0"/>
              <a:t>Phone: 765.494.1190</a:t>
            </a:r>
            <a:endParaRPr lang="en-US" dirty="0"/>
          </a:p>
        </p:txBody>
      </p:sp>
      <p:sp>
        <p:nvSpPr>
          <p:cNvPr id="4" name="Slide Number Placeholder 3"/>
          <p:cNvSpPr>
            <a:spLocks noGrp="1"/>
          </p:cNvSpPr>
          <p:nvPr>
            <p:ph type="sldNum" sz="quarter" idx="10"/>
          </p:nvPr>
        </p:nvSpPr>
        <p:spPr/>
        <p:txBody>
          <a:bodyPr/>
          <a:lstStyle/>
          <a:p>
            <a:fld id="{A93D2213-812C-EC4A-8992-982409B5FF53}" type="slidenum">
              <a:rPr lang="en-US" smtClean="0">
                <a:solidFill>
                  <a:prstClr val="black"/>
                </a:solidFill>
                <a:latin typeface="Calibri"/>
              </a:rPr>
              <a:pPr/>
              <a:t>4</a:t>
            </a:fld>
            <a:endParaRPr lang="en-US">
              <a:solidFill>
                <a:prstClr val="black"/>
              </a:solidFill>
              <a:latin typeface="Calibri"/>
            </a:endParaRPr>
          </a:p>
        </p:txBody>
      </p:sp>
    </p:spTree>
    <p:extLst>
      <p:ext uri="{BB962C8B-B14F-4D97-AF65-F5344CB8AC3E}">
        <p14:creationId xmlns:p14="http://schemas.microsoft.com/office/powerpoint/2010/main" val="1112436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 Marshall Porterfield</a:t>
            </a:r>
          </a:p>
          <a:p>
            <a:r>
              <a:rPr lang="en-US" dirty="0"/>
              <a:t>Division Director, Space Life and Physical Sciences</a:t>
            </a:r>
          </a:p>
          <a:p>
            <a:r>
              <a:rPr lang="en-US" dirty="0"/>
              <a:t>Human Exploration and Operations Mission Directorate</a:t>
            </a:r>
          </a:p>
          <a:p>
            <a:r>
              <a:rPr lang="en-US" dirty="0"/>
              <a:t>NASA Headquarters, Washington, DC</a:t>
            </a:r>
          </a:p>
          <a:p>
            <a:r>
              <a:rPr lang="en-US" dirty="0"/>
              <a:t>Email: </a:t>
            </a:r>
            <a:r>
              <a:rPr lang="en-US" u="sng" dirty="0">
                <a:hlinkClick r:id="rId3"/>
              </a:rPr>
              <a:t>d.marshall.porterfield@nasa.gov</a:t>
            </a:r>
          </a:p>
          <a:p>
            <a:r>
              <a:rPr lang="en-US" dirty="0"/>
              <a:t>Phone: 202.358.2456</a:t>
            </a:r>
          </a:p>
          <a:p>
            <a:r>
              <a:rPr lang="en-US" dirty="0"/>
              <a:t>Cell: 765.412.6792</a:t>
            </a:r>
          </a:p>
          <a:p>
            <a:r>
              <a:rPr lang="en-US" dirty="0"/>
              <a:t> </a:t>
            </a:r>
          </a:p>
          <a:p>
            <a:r>
              <a:rPr lang="en-US" dirty="0"/>
              <a:t>Professor of Biological Engineering</a:t>
            </a:r>
          </a:p>
          <a:p>
            <a:r>
              <a:rPr lang="en-US" dirty="0"/>
              <a:t>Purdue University</a:t>
            </a:r>
          </a:p>
          <a:p>
            <a:r>
              <a:rPr lang="en-US" dirty="0"/>
              <a:t>225 South University Street</a:t>
            </a:r>
          </a:p>
          <a:p>
            <a:r>
              <a:rPr lang="tr-TR" dirty="0"/>
              <a:t>West </a:t>
            </a:r>
            <a:r>
              <a:rPr lang="tr-TR" dirty="0" err="1"/>
              <a:t>Lafayette</a:t>
            </a:r>
            <a:r>
              <a:rPr lang="tr-TR" dirty="0"/>
              <a:t>, IN 47907-2093</a:t>
            </a:r>
          </a:p>
          <a:p>
            <a:r>
              <a:rPr lang="tr-TR" dirty="0"/>
              <a:t>Web: </a:t>
            </a:r>
            <a:r>
              <a:rPr lang="tr-TR" u="sng" dirty="0">
                <a:hlinkClick r:id="rId4"/>
              </a:rPr>
              <a:t>www.purdue.edu/dp/psf</a:t>
            </a:r>
          </a:p>
          <a:p>
            <a:r>
              <a:rPr lang="tr-TR" dirty="0" err="1"/>
              <a:t>Email</a:t>
            </a:r>
            <a:r>
              <a:rPr lang="tr-TR" dirty="0"/>
              <a:t>: </a:t>
            </a:r>
            <a:r>
              <a:rPr lang="tr-TR" u="sng" dirty="0">
                <a:hlinkClick r:id="rId5"/>
              </a:rPr>
              <a:t>porterf@purdue.edu</a:t>
            </a:r>
          </a:p>
          <a:p>
            <a:r>
              <a:rPr lang="tr-TR" dirty="0"/>
              <a:t>Phone: 765.494.1190</a:t>
            </a:r>
            <a:endParaRPr lang="en-US" dirty="0"/>
          </a:p>
        </p:txBody>
      </p:sp>
      <p:sp>
        <p:nvSpPr>
          <p:cNvPr id="4" name="Slide Number Placeholder 3"/>
          <p:cNvSpPr>
            <a:spLocks noGrp="1"/>
          </p:cNvSpPr>
          <p:nvPr>
            <p:ph type="sldNum" sz="quarter" idx="10"/>
          </p:nvPr>
        </p:nvSpPr>
        <p:spPr/>
        <p:txBody>
          <a:bodyPr/>
          <a:lstStyle/>
          <a:p>
            <a:fld id="{A93D2213-812C-EC4A-8992-982409B5FF53}" type="slidenum">
              <a:rPr lang="en-US" smtClean="0">
                <a:solidFill>
                  <a:prstClr val="black"/>
                </a:solidFill>
                <a:latin typeface="Calibri"/>
              </a:rPr>
              <a:pPr/>
              <a:t>5</a:t>
            </a:fld>
            <a:endParaRPr lang="en-US">
              <a:solidFill>
                <a:prstClr val="black"/>
              </a:solidFill>
              <a:latin typeface="Calibri"/>
            </a:endParaRPr>
          </a:p>
        </p:txBody>
      </p:sp>
    </p:spTree>
    <p:extLst>
      <p:ext uri="{BB962C8B-B14F-4D97-AF65-F5344CB8AC3E}">
        <p14:creationId xmlns:p14="http://schemas.microsoft.com/office/powerpoint/2010/main" val="1112436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err="1" smtClean="0"/>
              <a:t>ConOps</a:t>
            </a:r>
            <a:r>
              <a:rPr lang="en-US" b="1" baseline="0" dirty="0" smtClean="0"/>
              <a:t> of data generation:  </a:t>
            </a:r>
          </a:p>
          <a:p>
            <a:r>
              <a:rPr lang="en-US" b="1" baseline="0" dirty="0" smtClean="0"/>
              <a:t>	- experiment initiation</a:t>
            </a:r>
          </a:p>
          <a:p>
            <a:r>
              <a:rPr lang="en-US" b="1" baseline="0" dirty="0" smtClean="0"/>
              <a:t>	- sample processing</a:t>
            </a:r>
          </a:p>
          <a:p>
            <a:r>
              <a:rPr lang="en-US" b="1" baseline="0" dirty="0" smtClean="0"/>
              <a:t>	- data sharing</a:t>
            </a:r>
          </a:p>
          <a:p>
            <a:r>
              <a:rPr lang="en-US" b="1" baseline="0" dirty="0" smtClean="0"/>
              <a:t>	- modeling</a:t>
            </a:r>
          </a:p>
          <a:p>
            <a:r>
              <a:rPr lang="en-US" b="1" baseline="0" dirty="0" smtClean="0"/>
              <a:t>	- new hypotheses </a:t>
            </a:r>
            <a:endParaRPr lang="en-US" b="1" dirty="0"/>
          </a:p>
        </p:txBody>
      </p:sp>
      <p:sp>
        <p:nvSpPr>
          <p:cNvPr id="4" name="Slide Number Placeholder 3"/>
          <p:cNvSpPr>
            <a:spLocks noGrp="1"/>
          </p:cNvSpPr>
          <p:nvPr>
            <p:ph type="sldNum" sz="quarter" idx="10"/>
          </p:nvPr>
        </p:nvSpPr>
        <p:spPr/>
        <p:txBody>
          <a:bodyPr/>
          <a:lstStyle/>
          <a:p>
            <a:fld id="{3CA826CD-17A5-4E92-B146-C3C4B401182B}" type="slidenum">
              <a:rPr lang="en-US" smtClean="0">
                <a:solidFill>
                  <a:prstClr val="black"/>
                </a:solidFill>
                <a:latin typeface="Calibri"/>
              </a:rPr>
              <a:pPr/>
              <a:t>7</a:t>
            </a:fld>
            <a:endParaRPr lang="en-US" dirty="0">
              <a:solidFill>
                <a:prstClr val="black"/>
              </a:solidFill>
              <a:latin typeface="Calibri"/>
            </a:endParaRPr>
          </a:p>
        </p:txBody>
      </p:sp>
    </p:spTree>
    <p:extLst>
      <p:ext uri="{BB962C8B-B14F-4D97-AF65-F5344CB8AC3E}">
        <p14:creationId xmlns:p14="http://schemas.microsoft.com/office/powerpoint/2010/main" val="3235920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7651"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p>
        </p:txBody>
      </p:sp>
      <p:sp>
        <p:nvSpPr>
          <p:cNvPr id="4" name="Slide Number Placeholder 3"/>
          <p:cNvSpPr>
            <a:spLocks noGrp="1"/>
          </p:cNvSpPr>
          <p:nvPr>
            <p:ph type="sldNum" sz="quarter" idx="5"/>
          </p:nvPr>
        </p:nvSpPr>
        <p:spPr/>
        <p:txBody>
          <a:bodyPr/>
          <a:lstStyle/>
          <a:p>
            <a:pPr>
              <a:defRPr/>
            </a:pPr>
            <a:fld id="{355AD3E1-D84B-4262-8363-1A402B0BA5F6}" type="slidenum">
              <a:rPr lang="en-US" smtClean="0">
                <a:solidFill>
                  <a:prstClr val="black"/>
                </a:solidFill>
                <a:latin typeface="Calibri"/>
              </a:rPr>
              <a:pPr>
                <a:defRPr/>
              </a:pPr>
              <a:t>8</a:t>
            </a:fld>
            <a:endParaRPr lang="en-US" dirty="0">
              <a:solidFill>
                <a:prstClr val="black"/>
              </a:solidFill>
              <a:latin typeface="Calibri"/>
            </a:endParaRPr>
          </a:p>
        </p:txBody>
      </p:sp>
    </p:spTree>
    <p:extLst>
      <p:ext uri="{BB962C8B-B14F-4D97-AF65-F5344CB8AC3E}">
        <p14:creationId xmlns:p14="http://schemas.microsoft.com/office/powerpoint/2010/main" val="500806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The point of this slide is the there</a:t>
            </a:r>
            <a:r>
              <a:rPr lang="en-US" b="1" baseline="0" dirty="0" smtClean="0"/>
              <a:t> are 2 parts to GL: science (that generates data)  and data system (that analyzes data and generates new hypotheses)</a:t>
            </a:r>
            <a:endParaRPr lang="en-US" b="1" dirty="0"/>
          </a:p>
        </p:txBody>
      </p:sp>
      <p:sp>
        <p:nvSpPr>
          <p:cNvPr id="4" name="Slide Number Placeholder 3"/>
          <p:cNvSpPr>
            <a:spLocks noGrp="1"/>
          </p:cNvSpPr>
          <p:nvPr>
            <p:ph type="sldNum" sz="quarter" idx="10"/>
          </p:nvPr>
        </p:nvSpPr>
        <p:spPr/>
        <p:txBody>
          <a:bodyPr/>
          <a:lstStyle/>
          <a:p>
            <a:fld id="{A93D2213-812C-EC4A-8992-982409B5FF53}" type="slidenum">
              <a:rPr lang="en-US" smtClean="0">
                <a:solidFill>
                  <a:prstClr val="black"/>
                </a:solidFill>
                <a:latin typeface="Calibri"/>
              </a:rPr>
              <a:pPr/>
              <a:t>9</a:t>
            </a:fld>
            <a:endParaRPr lang="en-US">
              <a:solidFill>
                <a:prstClr val="black"/>
              </a:solidFill>
              <a:latin typeface="Calibri"/>
            </a:endParaRPr>
          </a:p>
        </p:txBody>
      </p:sp>
    </p:spTree>
    <p:extLst>
      <p:ext uri="{BB962C8B-B14F-4D97-AF65-F5344CB8AC3E}">
        <p14:creationId xmlns:p14="http://schemas.microsoft.com/office/powerpoint/2010/main" val="41215721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smtClean="0"/>
              <a:t>HRP</a:t>
            </a:r>
            <a:r>
              <a:rPr lang="en-US" sz="1200" dirty="0" smtClean="0"/>
              <a:t>: Exploring overlap with human longitudinal study.  2015 HERO (Human Exploration Research Opportunities), references GeneLab.</a:t>
            </a:r>
          </a:p>
          <a:p>
            <a:r>
              <a:rPr lang="en-US" sz="1200" b="1" dirty="0" smtClean="0"/>
              <a:t>CASIS</a:t>
            </a:r>
            <a:r>
              <a:rPr lang="en-US" sz="1200" dirty="0" smtClean="0"/>
              <a:t>: Contributor and participation on GeneLab Steering Committee</a:t>
            </a:r>
          </a:p>
          <a:p>
            <a:r>
              <a:rPr lang="en-US" sz="1200" b="1" dirty="0" smtClean="0"/>
              <a:t>International Partners </a:t>
            </a:r>
            <a:r>
              <a:rPr lang="en-US" sz="1200" dirty="0" smtClean="0"/>
              <a:t>can contribute data (JAXA, ESA, CSA, RFSA-BION)</a:t>
            </a:r>
            <a:br>
              <a:rPr lang="en-US" sz="1200" dirty="0" smtClean="0"/>
            </a:br>
            <a:endParaRPr lang="en-US" sz="1200" dirty="0" smtClean="0"/>
          </a:p>
          <a:p>
            <a:endParaRPr lang="en-US" dirty="0"/>
          </a:p>
        </p:txBody>
      </p:sp>
      <p:sp>
        <p:nvSpPr>
          <p:cNvPr id="4" name="Slide Number Placeholder 3"/>
          <p:cNvSpPr>
            <a:spLocks noGrp="1"/>
          </p:cNvSpPr>
          <p:nvPr>
            <p:ph type="sldNum" sz="quarter" idx="10"/>
          </p:nvPr>
        </p:nvSpPr>
        <p:spPr/>
        <p:txBody>
          <a:bodyPr/>
          <a:lstStyle/>
          <a:p>
            <a:pPr>
              <a:defRPr/>
            </a:pPr>
            <a:fld id="{3A3361AF-03EF-43B6-AE60-88AA32F41241}" type="slidenum">
              <a:rPr lang="en-US" smtClean="0">
                <a:solidFill>
                  <a:prstClr val="black"/>
                </a:solidFill>
                <a:latin typeface="Calibri"/>
              </a:rPr>
              <a:pPr>
                <a:defRPr/>
              </a:pPr>
              <a:t>11</a:t>
            </a:fld>
            <a:endParaRPr lang="en-US" dirty="0">
              <a:solidFill>
                <a:prstClr val="black"/>
              </a:solidFill>
              <a:latin typeface="Calibri"/>
            </a:endParaRPr>
          </a:p>
        </p:txBody>
      </p:sp>
    </p:spTree>
    <p:extLst>
      <p:ext uri="{BB962C8B-B14F-4D97-AF65-F5344CB8AC3E}">
        <p14:creationId xmlns:p14="http://schemas.microsoft.com/office/powerpoint/2010/main" val="17962270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7651"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p>
        </p:txBody>
      </p:sp>
      <p:sp>
        <p:nvSpPr>
          <p:cNvPr id="4" name="Slide Number Placeholder 3"/>
          <p:cNvSpPr>
            <a:spLocks noGrp="1"/>
          </p:cNvSpPr>
          <p:nvPr>
            <p:ph type="sldNum" sz="quarter" idx="5"/>
          </p:nvPr>
        </p:nvSpPr>
        <p:spPr/>
        <p:txBody>
          <a:bodyPr/>
          <a:lstStyle/>
          <a:p>
            <a:pPr>
              <a:defRPr/>
            </a:pPr>
            <a:fld id="{355AD3E1-D84B-4262-8363-1A402B0BA5F6}" type="slidenum">
              <a:rPr lang="en-US" smtClean="0">
                <a:solidFill>
                  <a:prstClr val="black"/>
                </a:solidFill>
                <a:latin typeface="Calibri"/>
              </a:rPr>
              <a:pPr>
                <a:defRPr/>
              </a:pPr>
              <a:t>12</a:t>
            </a:fld>
            <a:endParaRPr lang="en-US" dirty="0">
              <a:solidFill>
                <a:prstClr val="black"/>
              </a:solidFill>
              <a:latin typeface="Calibri"/>
            </a:endParaRPr>
          </a:p>
        </p:txBody>
      </p:sp>
    </p:spTree>
    <p:extLst>
      <p:ext uri="{BB962C8B-B14F-4D97-AF65-F5344CB8AC3E}">
        <p14:creationId xmlns:p14="http://schemas.microsoft.com/office/powerpoint/2010/main" val="50080692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4091658"/>
            <a:ext cx="6400800" cy="1752600"/>
          </a:xfrm>
        </p:spPr>
        <p:txBody>
          <a:bodyPr/>
          <a:lstStyle>
            <a:lvl1pPr marL="0" indent="0" algn="ctr">
              <a:buNone/>
              <a:defRPr>
                <a:solidFill>
                  <a:schemeClr val="tx1">
                    <a:tint val="75000"/>
                  </a:schemeClr>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nchor="ctr"/>
          <a:lstStyle>
            <a:lvl1pPr>
              <a:defRPr sz="1400" b="1">
                <a:latin typeface="Arial"/>
                <a:cs typeface="Arial"/>
              </a:defRPr>
            </a:lvl1pPr>
          </a:lstStyle>
          <a:p>
            <a:r>
              <a:rPr lang="en-US" smtClean="0"/>
              <a:t>14 January 2016</a:t>
            </a:r>
            <a:endParaRPr lang="en-US" dirty="0"/>
          </a:p>
        </p:txBody>
      </p:sp>
      <p:sp>
        <p:nvSpPr>
          <p:cNvPr id="5" name="Footer Placeholder 4"/>
          <p:cNvSpPr>
            <a:spLocks noGrp="1"/>
          </p:cNvSpPr>
          <p:nvPr>
            <p:ph type="ftr" sz="quarter" idx="11"/>
          </p:nvPr>
        </p:nvSpPr>
        <p:spPr>
          <a:xfrm>
            <a:off x="2663596" y="6356350"/>
            <a:ext cx="4853300" cy="365125"/>
          </a:xfrm>
        </p:spPr>
        <p:txBody>
          <a:bodyPr/>
          <a:lstStyle>
            <a:lvl1pPr>
              <a:defRPr sz="1400" b="1">
                <a:latin typeface="Arial"/>
                <a:cs typeface="Arial"/>
              </a:defRPr>
            </a:lvl1pPr>
          </a:lstStyle>
          <a:p>
            <a:r>
              <a:rPr lang="en-US" smtClean="0"/>
              <a:t>Collaborative Life Sciences Data TEM | Michael Skidmore                      </a:t>
            </a:r>
            <a:endParaRPr lang="en-US" dirty="0"/>
          </a:p>
        </p:txBody>
      </p:sp>
      <p:sp>
        <p:nvSpPr>
          <p:cNvPr id="6" name="Slide Number Placeholder 5"/>
          <p:cNvSpPr>
            <a:spLocks noGrp="1"/>
          </p:cNvSpPr>
          <p:nvPr>
            <p:ph type="sldNum" sz="quarter" idx="12"/>
          </p:nvPr>
        </p:nvSpPr>
        <p:spPr>
          <a:xfrm>
            <a:off x="7600934" y="6356350"/>
            <a:ext cx="1085865" cy="365125"/>
          </a:xfrm>
          <a:prstGeom prst="rect">
            <a:avLst/>
          </a:prstGeom>
        </p:spPr>
        <p:txBody>
          <a:bodyPr/>
          <a:lstStyle>
            <a:lvl1pPr>
              <a:defRPr sz="1400" b="1">
                <a:latin typeface="Arial"/>
                <a:cs typeface="Arial"/>
              </a:defRPr>
            </a:lvl1pPr>
          </a:lstStyle>
          <a:p>
            <a:fld id="{ACB3FC3A-BC2E-574C-8636-F1DF04588B6F}" type="slidenum">
              <a:rPr lang="en-US" smtClean="0"/>
              <a:pPr/>
              <a:t>‹#›</a:t>
            </a:fld>
            <a:endParaRPr lang="en-US" dirty="0"/>
          </a:p>
        </p:txBody>
      </p:sp>
    </p:spTree>
    <p:extLst>
      <p:ext uri="{BB962C8B-B14F-4D97-AF65-F5344CB8AC3E}">
        <p14:creationId xmlns:p14="http://schemas.microsoft.com/office/powerpoint/2010/main" val="27020199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r>
              <a:rPr lang="en-US" smtClean="0">
                <a:solidFill>
                  <a:prstClr val="black">
                    <a:tint val="75000"/>
                  </a:prstClr>
                </a:solidFill>
                <a:latin typeface="Calibri"/>
              </a:rPr>
              <a:t>14 January 2016</a:t>
            </a:r>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latin typeface="Calibri"/>
              </a:rPr>
              <a:t>Collaborative Life Sciences Data TEM | Michael Skidmore                      </a:t>
            </a:r>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1F7CC9FD-11EA-6F4B-AFE0-ED678850FCBB}"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168751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r>
              <a:rPr lang="en-US" smtClean="0">
                <a:solidFill>
                  <a:prstClr val="black">
                    <a:tint val="75000"/>
                  </a:prstClr>
                </a:solidFill>
                <a:latin typeface="Calibri"/>
              </a:rPr>
              <a:t>14 January 2016</a:t>
            </a:r>
            <a:endParaRPr lang="en-US">
              <a:solidFill>
                <a:prstClr val="black">
                  <a:tint val="75000"/>
                </a:prstClr>
              </a:solidFill>
              <a:latin typeface="Calibri"/>
            </a:endParaRPr>
          </a:p>
        </p:txBody>
      </p:sp>
      <p:sp>
        <p:nvSpPr>
          <p:cNvPr id="8" name="Footer Placeholder 7"/>
          <p:cNvSpPr>
            <a:spLocks noGrp="1"/>
          </p:cNvSpPr>
          <p:nvPr>
            <p:ph type="ftr" sz="quarter" idx="11"/>
          </p:nvPr>
        </p:nvSpPr>
        <p:spPr/>
        <p:txBody>
          <a:bodyPr/>
          <a:lstStyle/>
          <a:p>
            <a:r>
              <a:rPr lang="en-US" smtClean="0">
                <a:solidFill>
                  <a:prstClr val="black">
                    <a:tint val="75000"/>
                  </a:prstClr>
                </a:solidFill>
                <a:latin typeface="Calibri"/>
              </a:rPr>
              <a:t>Collaborative Life Sciences Data TEM | Michael Skidmore                      </a:t>
            </a:r>
            <a:endParaRPr lang="en-US">
              <a:solidFill>
                <a:prstClr val="black">
                  <a:tint val="75000"/>
                </a:prstClr>
              </a:solidFill>
              <a:latin typeface="Calibri"/>
            </a:endParaRPr>
          </a:p>
        </p:txBody>
      </p:sp>
      <p:sp>
        <p:nvSpPr>
          <p:cNvPr id="9" name="Slide Number Placeholder 8"/>
          <p:cNvSpPr>
            <a:spLocks noGrp="1"/>
          </p:cNvSpPr>
          <p:nvPr>
            <p:ph type="sldNum" sz="quarter" idx="12"/>
          </p:nvPr>
        </p:nvSpPr>
        <p:spPr/>
        <p:txBody>
          <a:bodyPr/>
          <a:lstStyle/>
          <a:p>
            <a:fld id="{1F7CC9FD-11EA-6F4B-AFE0-ED678850FCBB}"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3468596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r>
              <a:rPr lang="en-US" smtClean="0">
                <a:solidFill>
                  <a:prstClr val="black">
                    <a:tint val="75000"/>
                  </a:prstClr>
                </a:solidFill>
                <a:latin typeface="Calibri"/>
              </a:rPr>
              <a:t>14 January 2016</a:t>
            </a:r>
            <a:endParaRPr lang="en-US">
              <a:solidFill>
                <a:prstClr val="black">
                  <a:tint val="75000"/>
                </a:prstClr>
              </a:solidFill>
              <a:latin typeface="Calibri"/>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latin typeface="Calibri"/>
              </a:rPr>
              <a:t>Collaborative Life Sciences Data TEM | Michael Skidmore                      </a:t>
            </a:r>
            <a:endParaRPr lang="en-US">
              <a:solidFill>
                <a:prstClr val="black">
                  <a:tint val="75000"/>
                </a:prstClr>
              </a:solidFill>
              <a:latin typeface="Calibri"/>
            </a:endParaRPr>
          </a:p>
        </p:txBody>
      </p:sp>
      <p:sp>
        <p:nvSpPr>
          <p:cNvPr id="5" name="Slide Number Placeholder 4"/>
          <p:cNvSpPr>
            <a:spLocks noGrp="1"/>
          </p:cNvSpPr>
          <p:nvPr>
            <p:ph type="sldNum" sz="quarter" idx="12"/>
          </p:nvPr>
        </p:nvSpPr>
        <p:spPr/>
        <p:txBody>
          <a:bodyPr/>
          <a:lstStyle/>
          <a:p>
            <a:fld id="{1F7CC9FD-11EA-6F4B-AFE0-ED678850FCBB}"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9584462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smtClean="0">
                <a:solidFill>
                  <a:prstClr val="black">
                    <a:tint val="75000"/>
                  </a:prstClr>
                </a:solidFill>
                <a:latin typeface="Calibri"/>
              </a:rPr>
              <a:t>14 January 2016</a:t>
            </a:r>
            <a:endParaRPr lang="en-US">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r>
              <a:rPr lang="en-US" smtClean="0">
                <a:solidFill>
                  <a:prstClr val="black">
                    <a:tint val="75000"/>
                  </a:prstClr>
                </a:solidFill>
                <a:latin typeface="Calibri"/>
              </a:rPr>
              <a:t>Collaborative Life Sciences Data TEM | Michael Skidmore                      </a:t>
            </a:r>
            <a:endParaRPr lang="en-US">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fld id="{1F7CC9FD-11EA-6F4B-AFE0-ED678850FCBB}"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0662107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r>
              <a:rPr lang="en-US" smtClean="0">
                <a:solidFill>
                  <a:prstClr val="black">
                    <a:tint val="75000"/>
                  </a:prstClr>
                </a:solidFill>
                <a:latin typeface="Calibri"/>
              </a:rPr>
              <a:t>14 January 2016</a:t>
            </a:r>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latin typeface="Calibri"/>
              </a:rPr>
              <a:t>Collaborative Life Sciences Data TEM | Michael Skidmore                      </a:t>
            </a:r>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1F7CC9FD-11EA-6F4B-AFE0-ED678850FCBB}"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04818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r>
              <a:rPr lang="en-US" smtClean="0">
                <a:solidFill>
                  <a:prstClr val="black">
                    <a:tint val="75000"/>
                  </a:prstClr>
                </a:solidFill>
                <a:latin typeface="Calibri"/>
              </a:rPr>
              <a:t>14 January 2016</a:t>
            </a:r>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latin typeface="Calibri"/>
              </a:rPr>
              <a:t>Collaborative Life Sciences Data TEM | Michael Skidmore                      </a:t>
            </a:r>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1F7CC9FD-11EA-6F4B-AFE0-ED678850FCBB}"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9947250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r>
              <a:rPr lang="en-US" smtClean="0">
                <a:solidFill>
                  <a:prstClr val="black">
                    <a:tint val="75000"/>
                  </a:prstClr>
                </a:solidFill>
                <a:latin typeface="Calibri"/>
              </a:rPr>
              <a:t>14 January 2016</a:t>
            </a:r>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latin typeface="Calibri"/>
              </a:rPr>
              <a:t>Collaborative Life Sciences Data TEM | Michael Skidmore                      </a:t>
            </a:r>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1F7CC9FD-11EA-6F4B-AFE0-ED678850FCBB}"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42297991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r>
              <a:rPr lang="en-US" smtClean="0">
                <a:solidFill>
                  <a:prstClr val="black">
                    <a:tint val="75000"/>
                  </a:prstClr>
                </a:solidFill>
                <a:latin typeface="Calibri"/>
              </a:rPr>
              <a:t>14 January 2016</a:t>
            </a:r>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latin typeface="Calibri"/>
              </a:rPr>
              <a:t>Collaborative Life Sciences Data TEM | Michael Skidmore                      </a:t>
            </a:r>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1F7CC9FD-11EA-6F4B-AFE0-ED678850FCBB}"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2429163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363615"/>
            <a:ext cx="8229600" cy="3678438"/>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5" name="Date Placeholder 3"/>
          <p:cNvSpPr>
            <a:spLocks noGrp="1"/>
          </p:cNvSpPr>
          <p:nvPr>
            <p:ph type="dt" sz="half" idx="10"/>
          </p:nvPr>
        </p:nvSpPr>
        <p:spPr>
          <a:xfrm>
            <a:off x="457200" y="6356350"/>
            <a:ext cx="2133600" cy="365125"/>
          </a:xfrm>
          <a:prstGeom prst="rect">
            <a:avLst/>
          </a:prstGeom>
        </p:spPr>
        <p:txBody>
          <a:bodyPr anchor="ctr"/>
          <a:lstStyle>
            <a:lvl1pPr>
              <a:defRPr sz="1400" b="1">
                <a:latin typeface="Arial"/>
                <a:cs typeface="Arial"/>
              </a:defRPr>
            </a:lvl1pPr>
          </a:lstStyle>
          <a:p>
            <a:r>
              <a:rPr lang="en-US" smtClean="0">
                <a:solidFill>
                  <a:prstClr val="black">
                    <a:tint val="75000"/>
                  </a:prstClr>
                </a:solidFill>
              </a:rPr>
              <a:t>14 January 2016</a:t>
            </a:r>
            <a:endParaRPr lang="en-US" dirty="0">
              <a:solidFill>
                <a:prstClr val="black">
                  <a:tint val="75000"/>
                </a:prstClr>
              </a:solidFill>
            </a:endParaRPr>
          </a:p>
        </p:txBody>
      </p:sp>
      <p:sp>
        <p:nvSpPr>
          <p:cNvPr id="16" name="Footer Placeholder 4"/>
          <p:cNvSpPr>
            <a:spLocks noGrp="1"/>
          </p:cNvSpPr>
          <p:nvPr>
            <p:ph type="ftr" sz="quarter" idx="11"/>
          </p:nvPr>
        </p:nvSpPr>
        <p:spPr>
          <a:xfrm>
            <a:off x="2663596" y="6356350"/>
            <a:ext cx="4853300" cy="365125"/>
          </a:xfrm>
        </p:spPr>
        <p:txBody>
          <a:bodyPr/>
          <a:lstStyle>
            <a:lvl1pPr>
              <a:defRPr sz="1400" b="1">
                <a:latin typeface="Arial"/>
                <a:cs typeface="Arial"/>
              </a:defRPr>
            </a:lvl1pPr>
          </a:lstStyle>
          <a:p>
            <a:r>
              <a:rPr lang="en-US" smtClean="0">
                <a:solidFill>
                  <a:prstClr val="black">
                    <a:tint val="75000"/>
                  </a:prstClr>
                </a:solidFill>
              </a:rPr>
              <a:t>Collaborative Life Sciences Data TEM | Michael Skidmore                      </a:t>
            </a:r>
            <a:endParaRPr lang="en-US" dirty="0">
              <a:solidFill>
                <a:prstClr val="black">
                  <a:tint val="75000"/>
                </a:prstClr>
              </a:solidFill>
            </a:endParaRPr>
          </a:p>
        </p:txBody>
      </p:sp>
      <p:sp>
        <p:nvSpPr>
          <p:cNvPr id="17" name="Slide Number Placeholder 5"/>
          <p:cNvSpPr>
            <a:spLocks noGrp="1"/>
          </p:cNvSpPr>
          <p:nvPr>
            <p:ph type="sldNum" sz="quarter" idx="12"/>
          </p:nvPr>
        </p:nvSpPr>
        <p:spPr>
          <a:xfrm>
            <a:off x="7600934" y="6356350"/>
            <a:ext cx="1085865" cy="365125"/>
          </a:xfrm>
          <a:prstGeom prst="rect">
            <a:avLst/>
          </a:prstGeom>
        </p:spPr>
        <p:txBody>
          <a:bodyPr/>
          <a:lstStyle>
            <a:lvl1pPr>
              <a:defRPr sz="1400" b="1">
                <a:latin typeface="Arial"/>
                <a:cs typeface="Arial"/>
              </a:defRPr>
            </a:lvl1pPr>
          </a:lstStyle>
          <a:p>
            <a:fld id="{ACB3FC3A-BC2E-574C-8636-F1DF04588B6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782521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EB00DF8E-EF56-4144-8315-DF4F40AC3E59}" type="datetimeFigureOut">
              <a:rPr lang="en-US" smtClean="0">
                <a:solidFill>
                  <a:prstClr val="black">
                    <a:tint val="75000"/>
                  </a:prstClr>
                </a:solidFill>
                <a:latin typeface="Calibri"/>
              </a:rPr>
              <a:pPr/>
              <a:t>1/14/20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1F7CC9FD-11EA-6F4B-AFE0-ED678850FCBB}"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0751878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363615"/>
            <a:ext cx="8229600" cy="3678438"/>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5" name="Date Placeholder 3"/>
          <p:cNvSpPr>
            <a:spLocks noGrp="1"/>
          </p:cNvSpPr>
          <p:nvPr>
            <p:ph type="dt" sz="half" idx="10"/>
          </p:nvPr>
        </p:nvSpPr>
        <p:spPr>
          <a:xfrm>
            <a:off x="457200" y="6356350"/>
            <a:ext cx="2133600" cy="365125"/>
          </a:xfrm>
          <a:prstGeom prst="rect">
            <a:avLst/>
          </a:prstGeom>
        </p:spPr>
        <p:txBody>
          <a:bodyPr anchor="ctr"/>
          <a:lstStyle>
            <a:lvl1pPr>
              <a:defRPr sz="1400" b="1">
                <a:latin typeface="Arial"/>
                <a:cs typeface="Arial"/>
              </a:defRPr>
            </a:lvl1pPr>
          </a:lstStyle>
          <a:p>
            <a:r>
              <a:rPr lang="en-US" smtClean="0"/>
              <a:t>14 January 2016</a:t>
            </a:r>
            <a:endParaRPr lang="en-US" dirty="0"/>
          </a:p>
        </p:txBody>
      </p:sp>
      <p:sp>
        <p:nvSpPr>
          <p:cNvPr id="16" name="Footer Placeholder 4"/>
          <p:cNvSpPr>
            <a:spLocks noGrp="1"/>
          </p:cNvSpPr>
          <p:nvPr>
            <p:ph type="ftr" sz="quarter" idx="11"/>
          </p:nvPr>
        </p:nvSpPr>
        <p:spPr>
          <a:xfrm>
            <a:off x="2663596" y="6356350"/>
            <a:ext cx="4853300" cy="365125"/>
          </a:xfrm>
        </p:spPr>
        <p:txBody>
          <a:bodyPr/>
          <a:lstStyle>
            <a:lvl1pPr>
              <a:defRPr sz="1400" b="1">
                <a:latin typeface="Arial"/>
                <a:cs typeface="Arial"/>
              </a:defRPr>
            </a:lvl1pPr>
          </a:lstStyle>
          <a:p>
            <a:r>
              <a:rPr lang="en-US" smtClean="0"/>
              <a:t>Collaborative Life Sciences Data TEM | Michael Skidmore                      </a:t>
            </a:r>
            <a:endParaRPr lang="en-US" dirty="0"/>
          </a:p>
        </p:txBody>
      </p:sp>
      <p:sp>
        <p:nvSpPr>
          <p:cNvPr id="17" name="Slide Number Placeholder 5"/>
          <p:cNvSpPr>
            <a:spLocks noGrp="1"/>
          </p:cNvSpPr>
          <p:nvPr>
            <p:ph type="sldNum" sz="quarter" idx="12"/>
          </p:nvPr>
        </p:nvSpPr>
        <p:spPr>
          <a:xfrm>
            <a:off x="7600934" y="6356350"/>
            <a:ext cx="1085865" cy="365125"/>
          </a:xfrm>
          <a:prstGeom prst="rect">
            <a:avLst/>
          </a:prstGeom>
        </p:spPr>
        <p:txBody>
          <a:bodyPr/>
          <a:lstStyle>
            <a:lvl1pPr>
              <a:defRPr sz="1400" b="1">
                <a:latin typeface="Arial"/>
                <a:cs typeface="Arial"/>
              </a:defRPr>
            </a:lvl1pPr>
          </a:lstStyle>
          <a:p>
            <a:fld id="{ACB3FC3A-BC2E-574C-8636-F1DF04588B6F}" type="slidenum">
              <a:rPr lang="en-US" smtClean="0"/>
              <a:pPr/>
              <a:t>‹#›</a:t>
            </a:fld>
            <a:endParaRPr lang="en-US" dirty="0"/>
          </a:p>
        </p:txBody>
      </p:sp>
    </p:spTree>
    <p:extLst>
      <p:ext uri="{BB962C8B-B14F-4D97-AF65-F5344CB8AC3E}">
        <p14:creationId xmlns:p14="http://schemas.microsoft.com/office/powerpoint/2010/main" val="22759333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B00DF8E-EF56-4144-8315-DF4F40AC3E59}" type="datetimeFigureOut">
              <a:rPr lang="en-US" smtClean="0">
                <a:solidFill>
                  <a:prstClr val="black">
                    <a:tint val="75000"/>
                  </a:prstClr>
                </a:solidFill>
                <a:latin typeface="Calibri"/>
              </a:rPr>
              <a:pPr/>
              <a:t>1/14/20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1F7CC9FD-11EA-6F4B-AFE0-ED678850FCBB}"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3591647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B00DF8E-EF56-4144-8315-DF4F40AC3E59}" type="datetimeFigureOut">
              <a:rPr lang="en-US" smtClean="0">
                <a:solidFill>
                  <a:prstClr val="black">
                    <a:tint val="75000"/>
                  </a:prstClr>
                </a:solidFill>
                <a:latin typeface="Calibri"/>
              </a:rPr>
              <a:pPr/>
              <a:t>1/14/20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1F7CC9FD-11EA-6F4B-AFE0-ED678850FCBB}"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2417075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EB00DF8E-EF56-4144-8315-DF4F40AC3E59}" type="datetimeFigureOut">
              <a:rPr lang="en-US" smtClean="0">
                <a:solidFill>
                  <a:prstClr val="black">
                    <a:tint val="75000"/>
                  </a:prstClr>
                </a:solidFill>
                <a:latin typeface="Calibri"/>
              </a:rPr>
              <a:pPr/>
              <a:t>1/14/20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1F7CC9FD-11EA-6F4B-AFE0-ED678850FCBB}"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168751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EB00DF8E-EF56-4144-8315-DF4F40AC3E59}" type="datetimeFigureOut">
              <a:rPr lang="en-US" smtClean="0">
                <a:solidFill>
                  <a:prstClr val="black">
                    <a:tint val="75000"/>
                  </a:prstClr>
                </a:solidFill>
                <a:latin typeface="Calibri"/>
              </a:rPr>
              <a:pPr/>
              <a:t>1/14/2016</a:t>
            </a:fld>
            <a:endParaRPr lang="en-US">
              <a:solidFill>
                <a:prstClr val="black">
                  <a:tint val="75000"/>
                </a:prstClr>
              </a:solidFill>
              <a:latin typeface="Calibri"/>
            </a:endParaRPr>
          </a:p>
        </p:txBody>
      </p:sp>
      <p:sp>
        <p:nvSpPr>
          <p:cNvPr id="8" name="Footer Placeholder 7"/>
          <p:cNvSpPr>
            <a:spLocks noGrp="1"/>
          </p:cNvSpPr>
          <p:nvPr>
            <p:ph type="ftr" sz="quarter" idx="11"/>
          </p:nvPr>
        </p:nvSpPr>
        <p:spPr/>
        <p:txBody>
          <a:bodyPr/>
          <a:lstStyle/>
          <a:p>
            <a:endParaRPr lang="en-US">
              <a:solidFill>
                <a:prstClr val="black">
                  <a:tint val="75000"/>
                </a:prstClr>
              </a:solidFill>
              <a:latin typeface="Calibri"/>
            </a:endParaRPr>
          </a:p>
        </p:txBody>
      </p:sp>
      <p:sp>
        <p:nvSpPr>
          <p:cNvPr id="9" name="Slide Number Placeholder 8"/>
          <p:cNvSpPr>
            <a:spLocks noGrp="1"/>
          </p:cNvSpPr>
          <p:nvPr>
            <p:ph type="sldNum" sz="quarter" idx="12"/>
          </p:nvPr>
        </p:nvSpPr>
        <p:spPr/>
        <p:txBody>
          <a:bodyPr/>
          <a:lstStyle/>
          <a:p>
            <a:fld id="{1F7CC9FD-11EA-6F4B-AFE0-ED678850FCBB}"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3468596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EB00DF8E-EF56-4144-8315-DF4F40AC3E59}" type="datetimeFigureOut">
              <a:rPr lang="en-US" smtClean="0">
                <a:solidFill>
                  <a:prstClr val="black">
                    <a:tint val="75000"/>
                  </a:prstClr>
                </a:solidFill>
                <a:latin typeface="Calibri"/>
              </a:rPr>
              <a:pPr/>
              <a:t>1/14/2016</a:t>
            </a:fld>
            <a:endParaRPr lang="en-US">
              <a:solidFill>
                <a:prstClr val="black">
                  <a:tint val="75000"/>
                </a:prstClr>
              </a:solidFill>
              <a:latin typeface="Calibri"/>
            </a:endParaRPr>
          </a:p>
        </p:txBody>
      </p:sp>
      <p:sp>
        <p:nvSpPr>
          <p:cNvPr id="4" name="Footer Placeholder 3"/>
          <p:cNvSpPr>
            <a:spLocks noGrp="1"/>
          </p:cNvSpPr>
          <p:nvPr>
            <p:ph type="ftr" sz="quarter" idx="11"/>
          </p:nvPr>
        </p:nvSpPr>
        <p:spPr/>
        <p:txBody>
          <a:bodyPr/>
          <a:lstStyle/>
          <a:p>
            <a:endParaRPr lang="en-US">
              <a:solidFill>
                <a:prstClr val="black">
                  <a:tint val="75000"/>
                </a:prstClr>
              </a:solidFill>
              <a:latin typeface="Calibri"/>
            </a:endParaRPr>
          </a:p>
        </p:txBody>
      </p:sp>
      <p:sp>
        <p:nvSpPr>
          <p:cNvPr id="5" name="Slide Number Placeholder 4"/>
          <p:cNvSpPr>
            <a:spLocks noGrp="1"/>
          </p:cNvSpPr>
          <p:nvPr>
            <p:ph type="sldNum" sz="quarter" idx="12"/>
          </p:nvPr>
        </p:nvSpPr>
        <p:spPr/>
        <p:txBody>
          <a:bodyPr/>
          <a:lstStyle/>
          <a:p>
            <a:fld id="{1F7CC9FD-11EA-6F4B-AFE0-ED678850FCBB}"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9584462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B00DF8E-EF56-4144-8315-DF4F40AC3E59}" type="datetimeFigureOut">
              <a:rPr lang="en-US" smtClean="0">
                <a:solidFill>
                  <a:prstClr val="black">
                    <a:tint val="75000"/>
                  </a:prstClr>
                </a:solidFill>
                <a:latin typeface="Calibri"/>
              </a:rPr>
              <a:pPr/>
              <a:t>1/14/2016</a:t>
            </a:fld>
            <a:endParaRPr lang="en-US">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endParaRPr lang="en-US">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fld id="{1F7CC9FD-11EA-6F4B-AFE0-ED678850FCBB}"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0662107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B00DF8E-EF56-4144-8315-DF4F40AC3E59}" type="datetimeFigureOut">
              <a:rPr lang="en-US" smtClean="0">
                <a:solidFill>
                  <a:prstClr val="black">
                    <a:tint val="75000"/>
                  </a:prstClr>
                </a:solidFill>
                <a:latin typeface="Calibri"/>
              </a:rPr>
              <a:pPr/>
              <a:t>1/14/20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1F7CC9FD-11EA-6F4B-AFE0-ED678850FCBB}"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04818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B00DF8E-EF56-4144-8315-DF4F40AC3E59}" type="datetimeFigureOut">
              <a:rPr lang="en-US" smtClean="0">
                <a:solidFill>
                  <a:prstClr val="black">
                    <a:tint val="75000"/>
                  </a:prstClr>
                </a:solidFill>
                <a:latin typeface="Calibri"/>
              </a:rPr>
              <a:pPr/>
              <a:t>1/14/2016</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1F7CC9FD-11EA-6F4B-AFE0-ED678850FCBB}"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9947250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B00DF8E-EF56-4144-8315-DF4F40AC3E59}" type="datetimeFigureOut">
              <a:rPr lang="en-US" smtClean="0">
                <a:solidFill>
                  <a:prstClr val="black">
                    <a:tint val="75000"/>
                  </a:prstClr>
                </a:solidFill>
                <a:latin typeface="Calibri"/>
              </a:rPr>
              <a:pPr/>
              <a:t>1/14/20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1F7CC9FD-11EA-6F4B-AFE0-ED678850FCBB}"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42297991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B00DF8E-EF56-4144-8315-DF4F40AC3E59}" type="datetimeFigureOut">
              <a:rPr lang="en-US" smtClean="0">
                <a:solidFill>
                  <a:prstClr val="black">
                    <a:tint val="75000"/>
                  </a:prstClr>
                </a:solidFill>
                <a:latin typeface="Calibri"/>
              </a:rPr>
              <a:pPr/>
              <a:t>1/14/2016</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1F7CC9FD-11EA-6F4B-AFE0-ED678850FCBB}"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2429163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3200" b="1" cap="all">
                <a:latin typeface="Arial"/>
                <a:cs typeface="Arial"/>
              </a:defRPr>
            </a:lvl1pPr>
          </a:lstStyle>
          <a:p>
            <a:r>
              <a:rPr lang="en-US"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latin typeface="Arial"/>
                <a:cs typeface="Aria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7" name="Date Placeholder 3"/>
          <p:cNvSpPr>
            <a:spLocks noGrp="1"/>
          </p:cNvSpPr>
          <p:nvPr>
            <p:ph type="dt" sz="half" idx="10"/>
          </p:nvPr>
        </p:nvSpPr>
        <p:spPr>
          <a:xfrm>
            <a:off x="457200" y="6356350"/>
            <a:ext cx="2133600" cy="365125"/>
          </a:xfrm>
          <a:prstGeom prst="rect">
            <a:avLst/>
          </a:prstGeom>
        </p:spPr>
        <p:txBody>
          <a:bodyPr anchor="ctr"/>
          <a:lstStyle>
            <a:lvl1pPr>
              <a:defRPr sz="1400" b="1">
                <a:latin typeface="Arial"/>
                <a:cs typeface="Arial"/>
              </a:defRPr>
            </a:lvl1pPr>
          </a:lstStyle>
          <a:p>
            <a:r>
              <a:rPr lang="en-US" smtClean="0"/>
              <a:t>14 January 2016</a:t>
            </a:r>
            <a:endParaRPr lang="en-US" dirty="0"/>
          </a:p>
        </p:txBody>
      </p:sp>
      <p:sp>
        <p:nvSpPr>
          <p:cNvPr id="8" name="Footer Placeholder 4"/>
          <p:cNvSpPr>
            <a:spLocks noGrp="1"/>
          </p:cNvSpPr>
          <p:nvPr>
            <p:ph type="ftr" sz="quarter" idx="11"/>
          </p:nvPr>
        </p:nvSpPr>
        <p:spPr>
          <a:xfrm>
            <a:off x="2663596" y="6356350"/>
            <a:ext cx="4853300" cy="365125"/>
          </a:xfrm>
        </p:spPr>
        <p:txBody>
          <a:bodyPr/>
          <a:lstStyle>
            <a:lvl1pPr>
              <a:defRPr sz="1400" b="1">
                <a:latin typeface="Arial"/>
                <a:cs typeface="Arial"/>
              </a:defRPr>
            </a:lvl1pPr>
          </a:lstStyle>
          <a:p>
            <a:r>
              <a:rPr lang="en-US" smtClean="0"/>
              <a:t>Collaborative Life Sciences Data TEM | Michael Skidmore                      </a:t>
            </a:r>
            <a:endParaRPr lang="en-US" dirty="0"/>
          </a:p>
        </p:txBody>
      </p:sp>
      <p:sp>
        <p:nvSpPr>
          <p:cNvPr id="9" name="Slide Number Placeholder 5"/>
          <p:cNvSpPr>
            <a:spLocks noGrp="1"/>
          </p:cNvSpPr>
          <p:nvPr>
            <p:ph type="sldNum" sz="quarter" idx="12"/>
          </p:nvPr>
        </p:nvSpPr>
        <p:spPr>
          <a:xfrm>
            <a:off x="7600934" y="6356350"/>
            <a:ext cx="1085865" cy="365125"/>
          </a:xfrm>
          <a:prstGeom prst="rect">
            <a:avLst/>
          </a:prstGeom>
        </p:spPr>
        <p:txBody>
          <a:bodyPr/>
          <a:lstStyle>
            <a:lvl1pPr>
              <a:defRPr sz="1400" b="1">
                <a:latin typeface="Arial"/>
                <a:cs typeface="Arial"/>
              </a:defRPr>
            </a:lvl1pPr>
          </a:lstStyle>
          <a:p>
            <a:fld id="{ACB3FC3A-BC2E-574C-8636-F1DF04588B6F}" type="slidenum">
              <a:rPr lang="en-US" smtClean="0"/>
              <a:pPr/>
              <a:t>‹#›</a:t>
            </a:fld>
            <a:endParaRPr lang="en-US" dirty="0"/>
          </a:p>
        </p:txBody>
      </p:sp>
    </p:spTree>
    <p:extLst>
      <p:ext uri="{BB962C8B-B14F-4D97-AF65-F5344CB8AC3E}">
        <p14:creationId xmlns:p14="http://schemas.microsoft.com/office/powerpoint/2010/main" val="17989526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363615"/>
            <a:ext cx="8229600" cy="3678438"/>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5" name="Date Placeholder 3"/>
          <p:cNvSpPr>
            <a:spLocks noGrp="1"/>
          </p:cNvSpPr>
          <p:nvPr>
            <p:ph type="dt" sz="half" idx="10"/>
          </p:nvPr>
        </p:nvSpPr>
        <p:spPr>
          <a:xfrm>
            <a:off x="457200" y="6356350"/>
            <a:ext cx="2133600" cy="365125"/>
          </a:xfrm>
          <a:prstGeom prst="rect">
            <a:avLst/>
          </a:prstGeom>
        </p:spPr>
        <p:txBody>
          <a:bodyPr anchor="ctr"/>
          <a:lstStyle>
            <a:lvl1pPr>
              <a:defRPr sz="1400" b="1">
                <a:latin typeface="Arial"/>
                <a:cs typeface="Arial"/>
              </a:defRPr>
            </a:lvl1pPr>
          </a:lstStyle>
          <a:p>
            <a:r>
              <a:rPr lang="en-US" smtClean="0">
                <a:solidFill>
                  <a:prstClr val="black">
                    <a:tint val="75000"/>
                  </a:prstClr>
                </a:solidFill>
              </a:rPr>
              <a:t>Month Day Year</a:t>
            </a:r>
            <a:endParaRPr lang="en-US" dirty="0">
              <a:solidFill>
                <a:prstClr val="black">
                  <a:tint val="75000"/>
                </a:prstClr>
              </a:solidFill>
            </a:endParaRPr>
          </a:p>
        </p:txBody>
      </p:sp>
      <p:sp>
        <p:nvSpPr>
          <p:cNvPr id="16" name="Footer Placeholder 4"/>
          <p:cNvSpPr>
            <a:spLocks noGrp="1"/>
          </p:cNvSpPr>
          <p:nvPr>
            <p:ph type="ftr" sz="quarter" idx="11"/>
          </p:nvPr>
        </p:nvSpPr>
        <p:spPr>
          <a:xfrm>
            <a:off x="2663596" y="6356350"/>
            <a:ext cx="4853300" cy="365125"/>
          </a:xfrm>
        </p:spPr>
        <p:txBody>
          <a:bodyPr/>
          <a:lstStyle>
            <a:lvl1pPr>
              <a:defRPr sz="1400" b="1">
                <a:latin typeface="Arial"/>
                <a:cs typeface="Arial"/>
              </a:defRPr>
            </a:lvl1pPr>
          </a:lstStyle>
          <a:p>
            <a:r>
              <a:rPr lang="en-US" smtClean="0">
                <a:solidFill>
                  <a:prstClr val="black">
                    <a:tint val="75000"/>
                  </a:prstClr>
                </a:solidFill>
              </a:rPr>
              <a:t>Title of Presentation | Presenter’s Name</a:t>
            </a:r>
            <a:endParaRPr lang="en-US" dirty="0">
              <a:solidFill>
                <a:prstClr val="black">
                  <a:tint val="75000"/>
                </a:prstClr>
              </a:solidFill>
            </a:endParaRPr>
          </a:p>
        </p:txBody>
      </p:sp>
      <p:sp>
        <p:nvSpPr>
          <p:cNvPr id="17" name="Slide Number Placeholder 5"/>
          <p:cNvSpPr>
            <a:spLocks noGrp="1"/>
          </p:cNvSpPr>
          <p:nvPr>
            <p:ph type="sldNum" sz="quarter" idx="12"/>
          </p:nvPr>
        </p:nvSpPr>
        <p:spPr>
          <a:xfrm>
            <a:off x="7600934" y="6356350"/>
            <a:ext cx="1085865" cy="365125"/>
          </a:xfrm>
          <a:prstGeom prst="rect">
            <a:avLst/>
          </a:prstGeom>
        </p:spPr>
        <p:txBody>
          <a:bodyPr/>
          <a:lstStyle>
            <a:lvl1pPr>
              <a:defRPr sz="1400" b="1">
                <a:latin typeface="Arial"/>
                <a:cs typeface="Arial"/>
              </a:defRPr>
            </a:lvl1pPr>
          </a:lstStyle>
          <a:p>
            <a:fld id="{ACB3FC3A-BC2E-574C-8636-F1DF04588B6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782521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363615"/>
            <a:ext cx="8229600" cy="3678438"/>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5" name="Date Placeholder 3"/>
          <p:cNvSpPr>
            <a:spLocks noGrp="1"/>
          </p:cNvSpPr>
          <p:nvPr>
            <p:ph type="dt" sz="half" idx="10"/>
          </p:nvPr>
        </p:nvSpPr>
        <p:spPr>
          <a:xfrm>
            <a:off x="457200" y="6356350"/>
            <a:ext cx="2133600" cy="365125"/>
          </a:xfrm>
          <a:prstGeom prst="rect">
            <a:avLst/>
          </a:prstGeom>
        </p:spPr>
        <p:txBody>
          <a:bodyPr anchor="ctr"/>
          <a:lstStyle>
            <a:lvl1pPr>
              <a:defRPr sz="1400" b="1">
                <a:latin typeface="Arial"/>
                <a:cs typeface="Arial"/>
              </a:defRPr>
            </a:lvl1pPr>
          </a:lstStyle>
          <a:p>
            <a:r>
              <a:rPr lang="en-US" smtClean="0">
                <a:solidFill>
                  <a:prstClr val="black">
                    <a:tint val="75000"/>
                  </a:prstClr>
                </a:solidFill>
              </a:rPr>
              <a:t>Month Day Year</a:t>
            </a:r>
            <a:endParaRPr lang="en-US" dirty="0">
              <a:solidFill>
                <a:prstClr val="black">
                  <a:tint val="75000"/>
                </a:prstClr>
              </a:solidFill>
            </a:endParaRPr>
          </a:p>
        </p:txBody>
      </p:sp>
      <p:sp>
        <p:nvSpPr>
          <p:cNvPr id="16" name="Footer Placeholder 4"/>
          <p:cNvSpPr>
            <a:spLocks noGrp="1"/>
          </p:cNvSpPr>
          <p:nvPr>
            <p:ph type="ftr" sz="quarter" idx="11"/>
          </p:nvPr>
        </p:nvSpPr>
        <p:spPr>
          <a:xfrm>
            <a:off x="2663596" y="6356350"/>
            <a:ext cx="4853300" cy="365125"/>
          </a:xfrm>
        </p:spPr>
        <p:txBody>
          <a:bodyPr/>
          <a:lstStyle>
            <a:lvl1pPr>
              <a:defRPr sz="1400" b="1">
                <a:latin typeface="Arial"/>
                <a:cs typeface="Arial"/>
              </a:defRPr>
            </a:lvl1pPr>
          </a:lstStyle>
          <a:p>
            <a:r>
              <a:rPr lang="en-US" smtClean="0">
                <a:solidFill>
                  <a:prstClr val="black">
                    <a:tint val="75000"/>
                  </a:prstClr>
                </a:solidFill>
              </a:rPr>
              <a:t>Title of Presentation | Presenter’s Name</a:t>
            </a:r>
            <a:endParaRPr lang="en-US" dirty="0">
              <a:solidFill>
                <a:prstClr val="black">
                  <a:tint val="75000"/>
                </a:prstClr>
              </a:solidFill>
            </a:endParaRPr>
          </a:p>
        </p:txBody>
      </p:sp>
      <p:sp>
        <p:nvSpPr>
          <p:cNvPr id="17" name="Slide Number Placeholder 5"/>
          <p:cNvSpPr>
            <a:spLocks noGrp="1"/>
          </p:cNvSpPr>
          <p:nvPr>
            <p:ph type="sldNum" sz="quarter" idx="12"/>
          </p:nvPr>
        </p:nvSpPr>
        <p:spPr>
          <a:xfrm>
            <a:off x="7600934" y="6356350"/>
            <a:ext cx="1085865" cy="365125"/>
          </a:xfrm>
          <a:prstGeom prst="rect">
            <a:avLst/>
          </a:prstGeom>
        </p:spPr>
        <p:txBody>
          <a:bodyPr/>
          <a:lstStyle>
            <a:lvl1pPr>
              <a:defRPr sz="1400" b="1">
                <a:latin typeface="Arial"/>
                <a:cs typeface="Arial"/>
              </a:defRPr>
            </a:lvl1pPr>
          </a:lstStyle>
          <a:p>
            <a:fld id="{ACB3FC3A-BC2E-574C-8636-F1DF04588B6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7825213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363615"/>
            <a:ext cx="8229600" cy="3678438"/>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5" name="Date Placeholder 3"/>
          <p:cNvSpPr>
            <a:spLocks noGrp="1"/>
          </p:cNvSpPr>
          <p:nvPr>
            <p:ph type="dt" sz="half" idx="10"/>
          </p:nvPr>
        </p:nvSpPr>
        <p:spPr>
          <a:xfrm>
            <a:off x="457200" y="6356350"/>
            <a:ext cx="2133600" cy="365125"/>
          </a:xfrm>
          <a:prstGeom prst="rect">
            <a:avLst/>
          </a:prstGeom>
        </p:spPr>
        <p:txBody>
          <a:bodyPr anchor="ctr"/>
          <a:lstStyle>
            <a:lvl1pPr>
              <a:defRPr sz="1400" b="1">
                <a:latin typeface="Arial"/>
                <a:cs typeface="Arial"/>
              </a:defRPr>
            </a:lvl1pPr>
          </a:lstStyle>
          <a:p>
            <a:r>
              <a:rPr lang="en-US" smtClean="0">
                <a:solidFill>
                  <a:prstClr val="black">
                    <a:tint val="75000"/>
                  </a:prstClr>
                </a:solidFill>
              </a:rPr>
              <a:t>Month Day Year</a:t>
            </a:r>
            <a:endParaRPr lang="en-US" dirty="0">
              <a:solidFill>
                <a:prstClr val="black">
                  <a:tint val="75000"/>
                </a:prstClr>
              </a:solidFill>
            </a:endParaRPr>
          </a:p>
        </p:txBody>
      </p:sp>
      <p:sp>
        <p:nvSpPr>
          <p:cNvPr id="16" name="Footer Placeholder 4"/>
          <p:cNvSpPr>
            <a:spLocks noGrp="1"/>
          </p:cNvSpPr>
          <p:nvPr>
            <p:ph type="ftr" sz="quarter" idx="11"/>
          </p:nvPr>
        </p:nvSpPr>
        <p:spPr>
          <a:xfrm>
            <a:off x="2663596" y="6356350"/>
            <a:ext cx="4853300" cy="365125"/>
          </a:xfrm>
        </p:spPr>
        <p:txBody>
          <a:bodyPr/>
          <a:lstStyle>
            <a:lvl1pPr>
              <a:defRPr sz="1400" b="1">
                <a:latin typeface="Arial"/>
                <a:cs typeface="Arial"/>
              </a:defRPr>
            </a:lvl1pPr>
          </a:lstStyle>
          <a:p>
            <a:r>
              <a:rPr lang="en-US" smtClean="0">
                <a:solidFill>
                  <a:prstClr val="black">
                    <a:tint val="75000"/>
                  </a:prstClr>
                </a:solidFill>
              </a:rPr>
              <a:t>Title of Presentation | Presenter’s Name</a:t>
            </a:r>
            <a:endParaRPr lang="en-US" dirty="0">
              <a:solidFill>
                <a:prstClr val="black">
                  <a:tint val="75000"/>
                </a:prstClr>
              </a:solidFill>
            </a:endParaRPr>
          </a:p>
        </p:txBody>
      </p:sp>
      <p:sp>
        <p:nvSpPr>
          <p:cNvPr id="17" name="Slide Number Placeholder 5"/>
          <p:cNvSpPr>
            <a:spLocks noGrp="1"/>
          </p:cNvSpPr>
          <p:nvPr>
            <p:ph type="sldNum" sz="quarter" idx="12"/>
          </p:nvPr>
        </p:nvSpPr>
        <p:spPr>
          <a:xfrm>
            <a:off x="7600934" y="6356350"/>
            <a:ext cx="1085865" cy="365125"/>
          </a:xfrm>
          <a:prstGeom prst="rect">
            <a:avLst/>
          </a:prstGeom>
        </p:spPr>
        <p:txBody>
          <a:bodyPr/>
          <a:lstStyle>
            <a:lvl1pPr>
              <a:defRPr sz="1400" b="1">
                <a:latin typeface="Arial"/>
                <a:cs typeface="Arial"/>
              </a:defRPr>
            </a:lvl1pPr>
          </a:lstStyle>
          <a:p>
            <a:fld id="{ACB3FC3A-BC2E-574C-8636-F1DF04588B6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782521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363615"/>
            <a:ext cx="8229600" cy="3678438"/>
          </a:xfr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5" name="Date Placeholder 3"/>
          <p:cNvSpPr>
            <a:spLocks noGrp="1"/>
          </p:cNvSpPr>
          <p:nvPr>
            <p:ph type="dt" sz="half" idx="10"/>
          </p:nvPr>
        </p:nvSpPr>
        <p:spPr>
          <a:xfrm>
            <a:off x="457200" y="6356350"/>
            <a:ext cx="2133600" cy="365125"/>
          </a:xfrm>
          <a:prstGeom prst="rect">
            <a:avLst/>
          </a:prstGeom>
        </p:spPr>
        <p:txBody>
          <a:bodyPr anchor="ctr"/>
          <a:lstStyle>
            <a:lvl1pPr>
              <a:defRPr sz="1400" b="1">
                <a:latin typeface="Arial"/>
                <a:cs typeface="Arial"/>
              </a:defRPr>
            </a:lvl1pPr>
          </a:lstStyle>
          <a:p>
            <a:r>
              <a:rPr lang="en-US" smtClean="0">
                <a:solidFill>
                  <a:prstClr val="black">
                    <a:tint val="75000"/>
                  </a:prstClr>
                </a:solidFill>
              </a:rPr>
              <a:t>Month Day Year</a:t>
            </a:r>
            <a:endParaRPr lang="en-US" dirty="0">
              <a:solidFill>
                <a:prstClr val="black">
                  <a:tint val="75000"/>
                </a:prstClr>
              </a:solidFill>
            </a:endParaRPr>
          </a:p>
        </p:txBody>
      </p:sp>
      <p:sp>
        <p:nvSpPr>
          <p:cNvPr id="16" name="Footer Placeholder 4"/>
          <p:cNvSpPr>
            <a:spLocks noGrp="1"/>
          </p:cNvSpPr>
          <p:nvPr>
            <p:ph type="ftr" sz="quarter" idx="11"/>
          </p:nvPr>
        </p:nvSpPr>
        <p:spPr>
          <a:xfrm>
            <a:off x="2663596" y="6356350"/>
            <a:ext cx="4853300" cy="365125"/>
          </a:xfrm>
        </p:spPr>
        <p:txBody>
          <a:bodyPr/>
          <a:lstStyle>
            <a:lvl1pPr>
              <a:defRPr sz="1400" b="1">
                <a:latin typeface="Arial"/>
                <a:cs typeface="Arial"/>
              </a:defRPr>
            </a:lvl1pPr>
          </a:lstStyle>
          <a:p>
            <a:r>
              <a:rPr lang="en-US" smtClean="0">
                <a:solidFill>
                  <a:prstClr val="black">
                    <a:tint val="75000"/>
                  </a:prstClr>
                </a:solidFill>
              </a:rPr>
              <a:t>Title of Presentation | Presenter’s Name</a:t>
            </a:r>
            <a:endParaRPr lang="en-US" dirty="0">
              <a:solidFill>
                <a:prstClr val="black">
                  <a:tint val="75000"/>
                </a:prstClr>
              </a:solidFill>
            </a:endParaRPr>
          </a:p>
        </p:txBody>
      </p:sp>
      <p:sp>
        <p:nvSpPr>
          <p:cNvPr id="17" name="Slide Number Placeholder 5"/>
          <p:cNvSpPr>
            <a:spLocks noGrp="1"/>
          </p:cNvSpPr>
          <p:nvPr>
            <p:ph type="sldNum" sz="quarter" idx="12"/>
          </p:nvPr>
        </p:nvSpPr>
        <p:spPr>
          <a:xfrm>
            <a:off x="7600934" y="6356350"/>
            <a:ext cx="1085865" cy="365125"/>
          </a:xfrm>
          <a:prstGeom prst="rect">
            <a:avLst/>
          </a:prstGeom>
        </p:spPr>
        <p:txBody>
          <a:bodyPr/>
          <a:lstStyle>
            <a:lvl1pPr>
              <a:defRPr sz="1400" b="1">
                <a:latin typeface="Arial"/>
                <a:cs typeface="Arial"/>
              </a:defRPr>
            </a:lvl1pPr>
          </a:lstStyle>
          <a:p>
            <a:fld id="{ACB3FC3A-BC2E-574C-8636-F1DF04588B6F}"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782521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wo Content">
    <p:bg>
      <p:bgPr>
        <a:blipFill rotWithShape="1">
          <a:blip r:embed="rId2"/>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2231914"/>
            <a:ext cx="4038600" cy="3894249"/>
          </a:xfrm>
        </p:spPr>
        <p:txBody>
          <a:bodyPr/>
          <a:lstStyle>
            <a:lvl1pPr>
              <a:defRPr sz="2800">
                <a:latin typeface="Arial"/>
                <a:cs typeface="Arial"/>
              </a:defRPr>
            </a:lvl1pPr>
            <a:lvl2pPr>
              <a:defRPr sz="2400">
                <a:latin typeface="Arial"/>
                <a:cs typeface="Arial"/>
              </a:defRPr>
            </a:lvl2pPr>
            <a:lvl3pPr>
              <a:defRPr sz="2000">
                <a:latin typeface="Arial"/>
                <a:cs typeface="Arial"/>
              </a:defRPr>
            </a:lvl3pPr>
            <a:lvl4pPr>
              <a:defRPr sz="1800">
                <a:latin typeface="Arial"/>
                <a:cs typeface="Arial"/>
              </a:defRPr>
            </a:lvl4pPr>
            <a:lvl5pPr>
              <a:defRPr sz="1800">
                <a:latin typeface="Arial"/>
                <a:cs typeface="Aria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2231914"/>
            <a:ext cx="4038600" cy="3894249"/>
          </a:xfrm>
        </p:spPr>
        <p:txBody>
          <a:bodyPr/>
          <a:lstStyle>
            <a:lvl1pPr>
              <a:defRPr sz="2800">
                <a:latin typeface="Arial"/>
                <a:cs typeface="Arial"/>
              </a:defRPr>
            </a:lvl1pPr>
            <a:lvl2pPr>
              <a:defRPr sz="2400">
                <a:latin typeface="Arial"/>
                <a:cs typeface="Arial"/>
              </a:defRPr>
            </a:lvl2pPr>
            <a:lvl3pPr>
              <a:defRPr sz="2000">
                <a:latin typeface="Arial"/>
                <a:cs typeface="Arial"/>
              </a:defRPr>
            </a:lvl3pPr>
            <a:lvl4pPr>
              <a:defRPr sz="1800">
                <a:latin typeface="Arial"/>
                <a:cs typeface="Arial"/>
              </a:defRPr>
            </a:lvl4pPr>
            <a:lvl5pPr>
              <a:defRPr sz="1800">
                <a:latin typeface="Arial"/>
                <a:cs typeface="Aria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Date Placeholder 3"/>
          <p:cNvSpPr>
            <a:spLocks noGrp="1"/>
          </p:cNvSpPr>
          <p:nvPr>
            <p:ph type="dt" sz="half" idx="10"/>
          </p:nvPr>
        </p:nvSpPr>
        <p:spPr>
          <a:xfrm>
            <a:off x="457200" y="6356350"/>
            <a:ext cx="2133600" cy="365125"/>
          </a:xfrm>
          <a:prstGeom prst="rect">
            <a:avLst/>
          </a:prstGeom>
        </p:spPr>
        <p:txBody>
          <a:bodyPr anchor="ctr"/>
          <a:lstStyle>
            <a:lvl1pPr>
              <a:defRPr sz="1400" b="1">
                <a:latin typeface="Arial"/>
                <a:cs typeface="Arial"/>
              </a:defRPr>
            </a:lvl1pPr>
          </a:lstStyle>
          <a:p>
            <a:r>
              <a:rPr lang="en-US" smtClean="0"/>
              <a:t>14 January 2016</a:t>
            </a:r>
            <a:endParaRPr lang="en-US" dirty="0"/>
          </a:p>
        </p:txBody>
      </p:sp>
      <p:sp>
        <p:nvSpPr>
          <p:cNvPr id="9" name="Footer Placeholder 4"/>
          <p:cNvSpPr>
            <a:spLocks noGrp="1"/>
          </p:cNvSpPr>
          <p:nvPr>
            <p:ph type="ftr" sz="quarter" idx="11"/>
          </p:nvPr>
        </p:nvSpPr>
        <p:spPr>
          <a:xfrm>
            <a:off x="2663596" y="6356350"/>
            <a:ext cx="4853300" cy="365125"/>
          </a:xfrm>
        </p:spPr>
        <p:txBody>
          <a:bodyPr/>
          <a:lstStyle>
            <a:lvl1pPr>
              <a:defRPr sz="1400" b="1">
                <a:latin typeface="Arial"/>
                <a:cs typeface="Arial"/>
              </a:defRPr>
            </a:lvl1pPr>
          </a:lstStyle>
          <a:p>
            <a:r>
              <a:rPr lang="en-US" smtClean="0"/>
              <a:t>Collaborative Life Sciences Data TEM | Michael Skidmore                      </a:t>
            </a:r>
            <a:endParaRPr lang="en-US" dirty="0"/>
          </a:p>
        </p:txBody>
      </p:sp>
      <p:sp>
        <p:nvSpPr>
          <p:cNvPr id="10" name="Slide Number Placeholder 5"/>
          <p:cNvSpPr>
            <a:spLocks noGrp="1"/>
          </p:cNvSpPr>
          <p:nvPr>
            <p:ph type="sldNum" sz="quarter" idx="12"/>
          </p:nvPr>
        </p:nvSpPr>
        <p:spPr>
          <a:xfrm>
            <a:off x="7600934" y="6356350"/>
            <a:ext cx="1085865" cy="365125"/>
          </a:xfrm>
          <a:prstGeom prst="rect">
            <a:avLst/>
          </a:prstGeom>
        </p:spPr>
        <p:txBody>
          <a:bodyPr/>
          <a:lstStyle>
            <a:lvl1pPr>
              <a:defRPr sz="1400" b="1">
                <a:latin typeface="Arial"/>
                <a:cs typeface="Arial"/>
              </a:defRPr>
            </a:lvl1pPr>
          </a:lstStyle>
          <a:p>
            <a:fld id="{ACB3FC3A-BC2E-574C-8636-F1DF04588B6F}" type="slidenum">
              <a:rPr lang="en-US" smtClean="0"/>
              <a:pPr/>
              <a:t>‹#›</a:t>
            </a:fld>
            <a:endParaRPr lang="en-US" dirty="0"/>
          </a:p>
        </p:txBody>
      </p:sp>
    </p:spTree>
    <p:extLst>
      <p:ext uri="{BB962C8B-B14F-4D97-AF65-F5344CB8AC3E}">
        <p14:creationId xmlns:p14="http://schemas.microsoft.com/office/powerpoint/2010/main" val="10343016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blipFill rotWithShape="1">
          <a:blip r:embed="rId2"/>
          <a:stretch>
            <a:fillRect/>
          </a:stretch>
        </a:blipFill>
        <a:effectLst/>
      </p:bgPr>
    </p:bg>
    <p:spTree>
      <p:nvGrpSpPr>
        <p:cNvPr id="1" name=""/>
        <p:cNvGrpSpPr/>
        <p:nvPr/>
      </p:nvGrpSpPr>
      <p:grpSpPr>
        <a:xfrm>
          <a:off x="0" y="0"/>
          <a:ext cx="0" cy="0"/>
          <a:chOff x="0" y="0"/>
          <a:chExt cx="0" cy="0"/>
        </a:xfrm>
      </p:grpSpPr>
      <p:sp>
        <p:nvSpPr>
          <p:cNvPr id="6" name="Date Placeholder 3"/>
          <p:cNvSpPr>
            <a:spLocks noGrp="1"/>
          </p:cNvSpPr>
          <p:nvPr>
            <p:ph type="dt" sz="half" idx="10"/>
          </p:nvPr>
        </p:nvSpPr>
        <p:spPr>
          <a:xfrm>
            <a:off x="457200" y="6356350"/>
            <a:ext cx="2133600" cy="365125"/>
          </a:xfrm>
          <a:prstGeom prst="rect">
            <a:avLst/>
          </a:prstGeom>
        </p:spPr>
        <p:txBody>
          <a:bodyPr anchor="ctr"/>
          <a:lstStyle>
            <a:lvl1pPr>
              <a:defRPr sz="1400" b="1">
                <a:latin typeface="Arial"/>
                <a:cs typeface="Arial"/>
              </a:defRPr>
            </a:lvl1pPr>
          </a:lstStyle>
          <a:p>
            <a:r>
              <a:rPr lang="en-US" smtClean="0"/>
              <a:t>14 January 2016</a:t>
            </a:r>
            <a:endParaRPr lang="en-US" dirty="0"/>
          </a:p>
        </p:txBody>
      </p:sp>
      <p:sp>
        <p:nvSpPr>
          <p:cNvPr id="7" name="Footer Placeholder 4"/>
          <p:cNvSpPr>
            <a:spLocks noGrp="1"/>
          </p:cNvSpPr>
          <p:nvPr>
            <p:ph type="ftr" sz="quarter" idx="11"/>
          </p:nvPr>
        </p:nvSpPr>
        <p:spPr>
          <a:xfrm>
            <a:off x="2663596" y="6356350"/>
            <a:ext cx="4853300" cy="365125"/>
          </a:xfrm>
        </p:spPr>
        <p:txBody>
          <a:bodyPr/>
          <a:lstStyle>
            <a:lvl1pPr>
              <a:defRPr sz="1400" b="1">
                <a:latin typeface="Arial"/>
                <a:cs typeface="Arial"/>
              </a:defRPr>
            </a:lvl1pPr>
          </a:lstStyle>
          <a:p>
            <a:r>
              <a:rPr lang="en-US" smtClean="0"/>
              <a:t>Collaborative Life Sciences Data TEM | Michael Skidmore                      </a:t>
            </a:r>
            <a:endParaRPr lang="en-US" dirty="0"/>
          </a:p>
        </p:txBody>
      </p:sp>
      <p:sp>
        <p:nvSpPr>
          <p:cNvPr id="8" name="Slide Number Placeholder 5"/>
          <p:cNvSpPr>
            <a:spLocks noGrp="1"/>
          </p:cNvSpPr>
          <p:nvPr>
            <p:ph type="sldNum" sz="quarter" idx="12"/>
          </p:nvPr>
        </p:nvSpPr>
        <p:spPr>
          <a:xfrm>
            <a:off x="7600934" y="6356350"/>
            <a:ext cx="1085865" cy="365125"/>
          </a:xfrm>
          <a:prstGeom prst="rect">
            <a:avLst/>
          </a:prstGeom>
        </p:spPr>
        <p:txBody>
          <a:bodyPr/>
          <a:lstStyle>
            <a:lvl1pPr>
              <a:defRPr sz="1400" b="1">
                <a:latin typeface="Arial"/>
                <a:cs typeface="Arial"/>
              </a:defRPr>
            </a:lvl1pPr>
          </a:lstStyle>
          <a:p>
            <a:fld id="{ACB3FC3A-BC2E-574C-8636-F1DF04588B6F}" type="slidenum">
              <a:rPr lang="en-US" smtClean="0"/>
              <a:pPr/>
              <a:t>‹#›</a:t>
            </a:fld>
            <a:endParaRPr lang="en-US" dirty="0"/>
          </a:p>
        </p:txBody>
      </p:sp>
    </p:spTree>
    <p:extLst>
      <p:ext uri="{BB962C8B-B14F-4D97-AF65-F5344CB8AC3E}">
        <p14:creationId xmlns:p14="http://schemas.microsoft.com/office/powerpoint/2010/main" val="6560677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92288" y="5238928"/>
            <a:ext cx="5486400" cy="840470"/>
          </a:xfrm>
          <a:prstGeom prst="rect">
            <a:avLst/>
          </a:prstGeom>
        </p:spPr>
        <p:txBody>
          <a:bodyPr anchor="b"/>
          <a:lstStyle>
            <a:lvl1pPr algn="l">
              <a:defRPr sz="2000" b="1">
                <a:latin typeface="Arial"/>
                <a:cs typeface="Arial"/>
              </a:defRPr>
            </a:lvl1pPr>
          </a:lstStyle>
          <a:p>
            <a:r>
              <a:rPr lang="en-US" smtClean="0"/>
              <a:t>Click to edit Master title style</a:t>
            </a:r>
            <a:endParaRPr lang="en-US" dirty="0"/>
          </a:p>
        </p:txBody>
      </p:sp>
      <p:sp>
        <p:nvSpPr>
          <p:cNvPr id="3" name="Picture Placeholder 2"/>
          <p:cNvSpPr>
            <a:spLocks noGrp="1"/>
          </p:cNvSpPr>
          <p:nvPr>
            <p:ph type="pic" idx="1"/>
          </p:nvPr>
        </p:nvSpPr>
        <p:spPr>
          <a:xfrm>
            <a:off x="1792288" y="2287945"/>
            <a:ext cx="5486400" cy="307939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Drag picture to placeholder or click icon to add</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atin typeface="Arial"/>
                <a:cs typeface="Aria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Date Placeholder 3"/>
          <p:cNvSpPr>
            <a:spLocks noGrp="1"/>
          </p:cNvSpPr>
          <p:nvPr>
            <p:ph type="dt" sz="half" idx="10"/>
          </p:nvPr>
        </p:nvSpPr>
        <p:spPr>
          <a:xfrm>
            <a:off x="457200" y="6356350"/>
            <a:ext cx="2133600" cy="365125"/>
          </a:xfrm>
          <a:prstGeom prst="rect">
            <a:avLst/>
          </a:prstGeom>
        </p:spPr>
        <p:txBody>
          <a:bodyPr anchor="ctr"/>
          <a:lstStyle>
            <a:lvl1pPr>
              <a:defRPr sz="1400" b="1">
                <a:latin typeface="Arial"/>
                <a:cs typeface="Arial"/>
              </a:defRPr>
            </a:lvl1pPr>
          </a:lstStyle>
          <a:p>
            <a:r>
              <a:rPr lang="en-US" smtClean="0"/>
              <a:t>14 January 2016</a:t>
            </a:r>
            <a:endParaRPr lang="en-US" dirty="0"/>
          </a:p>
        </p:txBody>
      </p:sp>
      <p:sp>
        <p:nvSpPr>
          <p:cNvPr id="9" name="Footer Placeholder 4"/>
          <p:cNvSpPr>
            <a:spLocks noGrp="1"/>
          </p:cNvSpPr>
          <p:nvPr>
            <p:ph type="ftr" sz="quarter" idx="11"/>
          </p:nvPr>
        </p:nvSpPr>
        <p:spPr>
          <a:xfrm>
            <a:off x="2663596" y="6356350"/>
            <a:ext cx="4853300" cy="365125"/>
          </a:xfrm>
        </p:spPr>
        <p:txBody>
          <a:bodyPr/>
          <a:lstStyle>
            <a:lvl1pPr>
              <a:defRPr sz="1400" b="1">
                <a:latin typeface="Arial"/>
                <a:cs typeface="Arial"/>
              </a:defRPr>
            </a:lvl1pPr>
          </a:lstStyle>
          <a:p>
            <a:r>
              <a:rPr lang="en-US" smtClean="0"/>
              <a:t>Collaborative Life Sciences Data TEM | Michael Skidmore                      </a:t>
            </a:r>
            <a:endParaRPr lang="en-US" dirty="0"/>
          </a:p>
        </p:txBody>
      </p:sp>
      <p:sp>
        <p:nvSpPr>
          <p:cNvPr id="10" name="Slide Number Placeholder 5"/>
          <p:cNvSpPr>
            <a:spLocks noGrp="1"/>
          </p:cNvSpPr>
          <p:nvPr>
            <p:ph type="sldNum" sz="quarter" idx="12"/>
          </p:nvPr>
        </p:nvSpPr>
        <p:spPr>
          <a:xfrm>
            <a:off x="7600934" y="6356350"/>
            <a:ext cx="1085865" cy="365125"/>
          </a:xfrm>
          <a:prstGeom prst="rect">
            <a:avLst/>
          </a:prstGeom>
        </p:spPr>
        <p:txBody>
          <a:bodyPr/>
          <a:lstStyle>
            <a:lvl1pPr>
              <a:defRPr sz="1400" b="1">
                <a:latin typeface="Arial"/>
                <a:cs typeface="Arial"/>
              </a:defRPr>
            </a:lvl1pPr>
          </a:lstStyle>
          <a:p>
            <a:fld id="{ACB3FC3A-BC2E-574C-8636-F1DF04588B6F}" type="slidenum">
              <a:rPr lang="en-US" smtClean="0"/>
              <a:pPr/>
              <a:t>‹#›</a:t>
            </a:fld>
            <a:endParaRPr lang="en-US" dirty="0"/>
          </a:p>
        </p:txBody>
      </p:sp>
    </p:spTree>
    <p:extLst>
      <p:ext uri="{BB962C8B-B14F-4D97-AF65-F5344CB8AC3E}">
        <p14:creationId xmlns:p14="http://schemas.microsoft.com/office/powerpoint/2010/main" val="5065745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r>
              <a:rPr lang="en-US" smtClean="0">
                <a:solidFill>
                  <a:prstClr val="black">
                    <a:tint val="75000"/>
                  </a:prstClr>
                </a:solidFill>
                <a:latin typeface="Calibri"/>
              </a:rPr>
              <a:t>14 January 2016</a:t>
            </a:r>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latin typeface="Calibri"/>
              </a:rPr>
              <a:t>Collaborative Life Sciences Data TEM | Michael Skidmore                      </a:t>
            </a:r>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1F7CC9FD-11EA-6F4B-AFE0-ED678850FCBB}"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0751878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r>
              <a:rPr lang="en-US" smtClean="0">
                <a:solidFill>
                  <a:prstClr val="black">
                    <a:tint val="75000"/>
                  </a:prstClr>
                </a:solidFill>
                <a:latin typeface="Calibri"/>
              </a:rPr>
              <a:t>14 January 2016</a:t>
            </a:r>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latin typeface="Calibri"/>
              </a:rPr>
              <a:t>Collaborative Life Sciences Data TEM | Michael Skidmore                      </a:t>
            </a:r>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1F7CC9FD-11EA-6F4B-AFE0-ED678850FCBB}"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3591647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r>
              <a:rPr lang="en-US" smtClean="0">
                <a:solidFill>
                  <a:prstClr val="black">
                    <a:tint val="75000"/>
                  </a:prstClr>
                </a:solidFill>
                <a:latin typeface="Calibri"/>
              </a:rPr>
              <a:t>14 January 2016</a:t>
            </a:r>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latin typeface="Calibri"/>
              </a:rPr>
              <a:t>Collaborative Life Sciences Data TEM | Michael Skidmore                      </a:t>
            </a:r>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1F7CC9FD-11EA-6F4B-AFE0-ED678850FCBB}"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2417075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6" Type="http://schemas.openxmlformats.org/officeDocument/2006/relationships/theme" Target="../theme/theme3.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rotWithShape="1">
          <a:blip r:embed="rId8"/>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2195512"/>
            <a:ext cx="8229600" cy="400528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2084655" y="6356350"/>
            <a:ext cx="4974690" cy="365125"/>
          </a:xfrm>
          <a:prstGeom prst="rect">
            <a:avLst/>
          </a:prstGeom>
        </p:spPr>
        <p:txBody>
          <a:bodyPr vert="horz" lIns="91440" tIns="45720" rIns="91440" bIns="45720" rtlCol="0" anchor="ctr"/>
          <a:lstStyle>
            <a:lvl1pPr algn="ctr">
              <a:defRPr sz="1400" b="1">
                <a:solidFill>
                  <a:schemeClr val="tx1">
                    <a:tint val="75000"/>
                  </a:schemeClr>
                </a:solidFill>
                <a:latin typeface="Arial"/>
                <a:cs typeface="Arial"/>
              </a:defRPr>
            </a:lvl1pPr>
          </a:lstStyle>
          <a:p>
            <a:r>
              <a:rPr lang="en-US" smtClean="0"/>
              <a:t>Collaborative Life Sciences Data TEM | Michael Skidmore                      </a:t>
            </a:r>
            <a:endParaRPr lang="en-US" dirty="0"/>
          </a:p>
        </p:txBody>
      </p:sp>
      <p:sp>
        <p:nvSpPr>
          <p:cNvPr id="10" name="Slide Number Placeholder 5"/>
          <p:cNvSpPr>
            <a:spLocks noGrp="1"/>
          </p:cNvSpPr>
          <p:nvPr>
            <p:ph type="sldNum" sz="quarter" idx="4"/>
          </p:nvPr>
        </p:nvSpPr>
        <p:spPr>
          <a:xfrm>
            <a:off x="7600934" y="6356350"/>
            <a:ext cx="1085865" cy="365125"/>
          </a:xfrm>
          <a:prstGeom prst="rect">
            <a:avLst/>
          </a:prstGeom>
        </p:spPr>
        <p:txBody>
          <a:bodyPr/>
          <a:lstStyle>
            <a:lvl1pPr algn="r">
              <a:defRPr sz="1400" b="1">
                <a:latin typeface="Arial"/>
                <a:cs typeface="Arial"/>
              </a:defRPr>
            </a:lvl1pPr>
          </a:lstStyle>
          <a:p>
            <a:fld id="{ACB3FC3A-BC2E-574C-8636-F1DF04588B6F}" type="slidenum">
              <a:rPr lang="en-US" smtClean="0"/>
              <a:pPr/>
              <a:t>‹#›</a:t>
            </a:fld>
            <a:endParaRPr lang="en-US" dirty="0"/>
          </a:p>
        </p:txBody>
      </p:sp>
      <p:cxnSp>
        <p:nvCxnSpPr>
          <p:cNvPr id="4" name="Straight Connector 3"/>
          <p:cNvCxnSpPr/>
          <p:nvPr userDrawn="1"/>
        </p:nvCxnSpPr>
        <p:spPr>
          <a:xfrm>
            <a:off x="7423518" y="924517"/>
            <a:ext cx="1017815" cy="0"/>
          </a:xfrm>
          <a:prstGeom prst="line">
            <a:avLst/>
          </a:prstGeom>
          <a:ln w="28575" cmpd="sng">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7423518" y="2010772"/>
            <a:ext cx="1017815" cy="0"/>
          </a:xfrm>
          <a:prstGeom prst="line">
            <a:avLst/>
          </a:prstGeom>
          <a:ln w="6350" cmpd="sng">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57711237"/>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6" r:id="rId5"/>
    <p:sldLayoutId id="2147483669" r:id="rId6"/>
  </p:sldLayoutIdLst>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Arial"/>
          <a:ea typeface="+mn-ea"/>
          <a:cs typeface="Arial"/>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Arial"/>
          <a:ea typeface="+mn-ea"/>
          <a:cs typeface="Arial"/>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a:ea typeface="+mn-ea"/>
          <a:cs typeface="Arial"/>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a:ea typeface="+mn-ea"/>
          <a:cs typeface="Arial"/>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smtClean="0">
                <a:solidFill>
                  <a:prstClr val="black">
                    <a:tint val="75000"/>
                  </a:prstClr>
                </a:solidFill>
                <a:latin typeface="Calibri"/>
              </a:rPr>
              <a:t>14 January 2016</a:t>
            </a:r>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solidFill>
                  <a:prstClr val="black">
                    <a:tint val="75000"/>
                  </a:prstClr>
                </a:solidFill>
                <a:latin typeface="Calibri"/>
              </a:rPr>
              <a:t>Collaborative Life Sciences Data TEM | Michael Skidmore                      </a:t>
            </a:r>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F7CC9FD-11EA-6F4B-AFE0-ED678850FCBB}"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784590849"/>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hf hdr="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B00DF8E-EF56-4144-8315-DF4F40AC3E59}" type="datetimeFigureOut">
              <a:rPr lang="en-US" smtClean="0">
                <a:solidFill>
                  <a:prstClr val="black">
                    <a:tint val="75000"/>
                  </a:prstClr>
                </a:solidFill>
                <a:latin typeface="Calibri"/>
              </a:rPr>
              <a:pPr/>
              <a:t>1/14/2016</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F7CC9FD-11EA-6F4B-AFE0-ED678850FCBB}"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784590849"/>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5.png"/><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hyperlink" Target="https://genelab-data.ndc.nasa.gov/genelab/" TargetMode="External"/><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openxmlformats.org/officeDocument/2006/relationships/image" Target="../media/image14.jpg"/><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1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7.jpe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microsoft.com/office/2007/relationships/hdphoto" Target="../media/hdphoto2.wdp"/><Relationship Id="rId5" Type="http://schemas.openxmlformats.org/officeDocument/2006/relationships/image" Target="../media/image26.png"/><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5.png"/><Relationship Id="rId1" Type="http://schemas.openxmlformats.org/officeDocument/2006/relationships/slideLayout" Target="../slideLayouts/slideLayout3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image" Target="../media/image7.png"/><Relationship Id="rId3" Type="http://schemas.openxmlformats.org/officeDocument/2006/relationships/tags" Target="../tags/tag2.xml"/><Relationship Id="rId21" Type="http://schemas.openxmlformats.org/officeDocument/2006/relationships/image" Target="../media/image10.png"/><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image" Target="../media/image6.emf"/><Relationship Id="rId2" Type="http://schemas.openxmlformats.org/officeDocument/2006/relationships/tags" Target="../tags/tag1.xml"/><Relationship Id="rId16" Type="http://schemas.openxmlformats.org/officeDocument/2006/relationships/oleObject" Target="../embeddings/oleObject1.bin"/><Relationship Id="rId20" Type="http://schemas.openxmlformats.org/officeDocument/2006/relationships/image" Target="../media/image9.emf"/><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image" Target="../media/image5.png"/><Relationship Id="rId5" Type="http://schemas.openxmlformats.org/officeDocument/2006/relationships/tags" Target="../tags/tag4.xml"/><Relationship Id="rId15" Type="http://schemas.openxmlformats.org/officeDocument/2006/relationships/notesSlide" Target="../notesSlides/notesSlide5.xml"/><Relationship Id="rId23" Type="http://schemas.openxmlformats.org/officeDocument/2006/relationships/image" Target="../media/image12.png"/><Relationship Id="rId10" Type="http://schemas.openxmlformats.org/officeDocument/2006/relationships/tags" Target="../tags/tag9.xml"/><Relationship Id="rId19" Type="http://schemas.openxmlformats.org/officeDocument/2006/relationships/image" Target="../media/image8.emf"/><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slideLayout" Target="../slideLayouts/slideLayout8.xml"/><Relationship Id="rId22"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13" name="TextBox 12"/>
          <p:cNvSpPr txBox="1"/>
          <p:nvPr/>
        </p:nvSpPr>
        <p:spPr>
          <a:xfrm>
            <a:off x="2765499" y="141603"/>
            <a:ext cx="5161364" cy="3016211"/>
          </a:xfrm>
          <a:prstGeom prst="rect">
            <a:avLst/>
          </a:prstGeom>
        </p:spPr>
        <p:txBody>
          <a:bodyPr wrap="none" rtlCol="0">
            <a:spAutoFit/>
          </a:bodyPr>
          <a:lstStyle/>
          <a:p>
            <a:r>
              <a:rPr lang="en-US" sz="2800" b="1" dirty="0" smtClean="0">
                <a:latin typeface="Arial"/>
                <a:cs typeface="Arial"/>
              </a:rPr>
              <a:t>GeneLab</a:t>
            </a:r>
            <a:r>
              <a:rPr lang="en-US" sz="2800" dirty="0" smtClean="0">
                <a:latin typeface="Arial"/>
                <a:cs typeface="Arial"/>
              </a:rPr>
              <a:t> </a:t>
            </a:r>
          </a:p>
          <a:p>
            <a:r>
              <a:rPr lang="en-US" sz="1200" dirty="0" smtClean="0">
                <a:solidFill>
                  <a:srgbClr val="AD8122"/>
                </a:solidFill>
                <a:latin typeface="Arial"/>
                <a:cs typeface="Arial"/>
              </a:rPr>
              <a:t>Open Science For Exploration</a:t>
            </a:r>
          </a:p>
          <a:p>
            <a:endParaRPr lang="en-US" sz="1200" dirty="0" smtClean="0">
              <a:latin typeface="Arial"/>
              <a:cs typeface="Arial"/>
            </a:endParaRPr>
          </a:p>
          <a:p>
            <a:r>
              <a:rPr lang="en-US" sz="2000" dirty="0" smtClean="0">
                <a:latin typeface="Arial"/>
                <a:cs typeface="Arial"/>
              </a:rPr>
              <a:t>Current Status Future Plans</a:t>
            </a:r>
          </a:p>
          <a:p>
            <a:endParaRPr lang="en-US" sz="2000" dirty="0" smtClean="0">
              <a:latin typeface="Arial"/>
              <a:cs typeface="Arial"/>
            </a:endParaRPr>
          </a:p>
          <a:p>
            <a:r>
              <a:rPr lang="en-US" sz="1400" dirty="0">
                <a:latin typeface="Arial"/>
                <a:cs typeface="Arial"/>
              </a:rPr>
              <a:t>Collaborative Life Sciences Data Technical  Exchange Meeting</a:t>
            </a:r>
          </a:p>
          <a:p>
            <a:r>
              <a:rPr lang="en-US" sz="1400" dirty="0">
                <a:latin typeface="Arial"/>
                <a:cs typeface="Arial"/>
              </a:rPr>
              <a:t>NASA Ames Research Center</a:t>
            </a:r>
          </a:p>
          <a:p>
            <a:r>
              <a:rPr lang="en-US" sz="1400" dirty="0">
                <a:latin typeface="Arial"/>
                <a:cs typeface="Arial"/>
              </a:rPr>
              <a:t>January 14-15, 2016</a:t>
            </a:r>
          </a:p>
          <a:p>
            <a:endParaRPr lang="en-US" sz="1400" dirty="0">
              <a:latin typeface="Arial"/>
              <a:cs typeface="Arial"/>
            </a:endParaRPr>
          </a:p>
          <a:p>
            <a:endParaRPr lang="en-US" sz="1400" dirty="0">
              <a:latin typeface="Arial"/>
              <a:cs typeface="Arial"/>
            </a:endParaRPr>
          </a:p>
          <a:p>
            <a:r>
              <a:rPr lang="en-US" sz="1400" dirty="0">
                <a:latin typeface="Arial"/>
                <a:cs typeface="Arial"/>
              </a:rPr>
              <a:t>Mike Skidmore</a:t>
            </a:r>
          </a:p>
          <a:p>
            <a:r>
              <a:rPr lang="en-US" sz="1400" dirty="0">
                <a:latin typeface="Arial"/>
                <a:cs typeface="Arial"/>
              </a:rPr>
              <a:t>GeneLab Project </a:t>
            </a:r>
            <a:r>
              <a:rPr lang="en-US" sz="1400" dirty="0" smtClean="0">
                <a:latin typeface="Arial"/>
                <a:cs typeface="Arial"/>
              </a:rPr>
              <a:t>Manager</a:t>
            </a:r>
            <a:endParaRPr lang="en-US" sz="1400" dirty="0">
              <a:latin typeface="Arial"/>
              <a:cs typeface="Arial"/>
            </a:endParaRPr>
          </a:p>
        </p:txBody>
      </p:sp>
      <p:sp>
        <p:nvSpPr>
          <p:cNvPr id="2" name="Date Placeholder 1"/>
          <p:cNvSpPr>
            <a:spLocks noGrp="1"/>
          </p:cNvSpPr>
          <p:nvPr>
            <p:ph type="dt" sz="half" idx="10"/>
          </p:nvPr>
        </p:nvSpPr>
        <p:spPr/>
        <p:txBody>
          <a:bodyPr/>
          <a:lstStyle/>
          <a:p>
            <a:r>
              <a:rPr lang="en-US" smtClean="0"/>
              <a:t>14 January 2016</a:t>
            </a:r>
            <a:endParaRPr lang="en-US" dirty="0"/>
          </a:p>
        </p:txBody>
      </p:sp>
      <p:sp>
        <p:nvSpPr>
          <p:cNvPr id="3" name="Footer Placeholder 2"/>
          <p:cNvSpPr>
            <a:spLocks noGrp="1"/>
          </p:cNvSpPr>
          <p:nvPr>
            <p:ph type="ftr" sz="quarter" idx="11"/>
          </p:nvPr>
        </p:nvSpPr>
        <p:spPr/>
        <p:txBody>
          <a:bodyPr/>
          <a:lstStyle/>
          <a:p>
            <a:r>
              <a:rPr lang="en-US" smtClean="0"/>
              <a:t>Collaborative Life Sciences Data TEM | Michael Skidmore                      </a:t>
            </a:r>
            <a:endParaRPr lang="en-US" dirty="0"/>
          </a:p>
        </p:txBody>
      </p:sp>
      <p:sp>
        <p:nvSpPr>
          <p:cNvPr id="4" name="Slide Number Placeholder 3"/>
          <p:cNvSpPr>
            <a:spLocks noGrp="1"/>
          </p:cNvSpPr>
          <p:nvPr>
            <p:ph type="sldNum" sz="quarter" idx="12"/>
          </p:nvPr>
        </p:nvSpPr>
        <p:spPr/>
        <p:txBody>
          <a:bodyPr/>
          <a:lstStyle/>
          <a:p>
            <a:fld id="{ACB3FC3A-BC2E-574C-8636-F1DF04588B6F}" type="slidenum">
              <a:rPr lang="en-US" smtClean="0"/>
              <a:pPr/>
              <a:t>1</a:t>
            </a:fld>
            <a:endParaRPr lang="en-US" dirty="0"/>
          </a:p>
        </p:txBody>
      </p:sp>
    </p:spTree>
    <p:extLst>
      <p:ext uri="{BB962C8B-B14F-4D97-AF65-F5344CB8AC3E}">
        <p14:creationId xmlns:p14="http://schemas.microsoft.com/office/powerpoint/2010/main" val="206823394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3591012" y="129032"/>
            <a:ext cx="5201263" cy="584776"/>
          </a:xfrm>
          <a:prstGeom prst="rect">
            <a:avLst/>
          </a:prstGeom>
        </p:spPr>
        <p:txBody>
          <a:bodyPr wrap="none" rtlCol="0">
            <a:spAutoFit/>
          </a:bodyPr>
          <a:lstStyle/>
          <a:p>
            <a:r>
              <a:rPr lang="en-US" sz="3200" b="1" dirty="0" err="1" smtClean="0">
                <a:solidFill>
                  <a:srgbClr val="000000"/>
                </a:solidFill>
                <a:latin typeface="Arial"/>
                <a:cs typeface="Arial"/>
              </a:rPr>
              <a:t>GeneLab</a:t>
            </a:r>
            <a:r>
              <a:rPr lang="en-US" sz="3200" b="1" dirty="0" smtClean="0">
                <a:solidFill>
                  <a:srgbClr val="000000"/>
                </a:solidFill>
                <a:latin typeface="Arial"/>
                <a:cs typeface="Arial"/>
              </a:rPr>
              <a:t>: Where Are We?</a:t>
            </a:r>
          </a:p>
        </p:txBody>
      </p:sp>
      <p:sp>
        <p:nvSpPr>
          <p:cNvPr id="13" name="Title 1"/>
          <p:cNvSpPr txBox="1">
            <a:spLocks/>
          </p:cNvSpPr>
          <p:nvPr/>
        </p:nvSpPr>
        <p:spPr bwMode="auto">
          <a:xfrm>
            <a:off x="318565" y="814165"/>
            <a:ext cx="8229118" cy="384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20000"/>
              </a:spcBef>
              <a:buFont typeface="Arial" panose="020B0604020202020204" pitchFamily="34" charset="0"/>
              <a:buChar char="•"/>
              <a:defRPr sz="2000" b="1">
                <a:solidFill>
                  <a:schemeClr val="tx1"/>
                </a:solidFill>
                <a:latin typeface="Calibri" panose="020F0502020204030204" pitchFamily="34" charset="0"/>
                <a:ea typeface="ヒラギノ角ゴ Pro W3"/>
                <a:cs typeface="Arial" panose="020B0604020202020204" pitchFamily="34" charset="0"/>
              </a:defRPr>
            </a:lvl1pPr>
            <a:lvl2pPr marL="742950" indent="-285750">
              <a:spcBef>
                <a:spcPct val="20000"/>
              </a:spcBef>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2pPr>
            <a:lvl3pPr marL="1143000" indent="-228600">
              <a:spcBef>
                <a:spcPct val="20000"/>
              </a:spcBef>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3pPr>
            <a:lvl4pPr marL="1600200" indent="-228600">
              <a:spcBef>
                <a:spcPct val="20000"/>
              </a:spcBef>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4pPr>
            <a:lvl5pPr marL="2057400" indent="-228600">
              <a:spcBef>
                <a:spcPct val="20000"/>
              </a:spcBef>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9pPr>
          </a:lstStyle>
          <a:p>
            <a:pPr algn="ctr" defTabSz="914400">
              <a:spcBef>
                <a:spcPct val="0"/>
              </a:spcBef>
              <a:buFontTx/>
              <a:buNone/>
            </a:pPr>
            <a:r>
              <a:rPr lang="en-US" altLang="en-US" sz="2800" b="0" dirty="0">
                <a:solidFill>
                  <a:srgbClr val="000000"/>
                </a:solidFill>
              </a:rPr>
              <a:t>Phased Implementation 2014-2021</a:t>
            </a:r>
          </a:p>
        </p:txBody>
      </p:sp>
      <p:pic>
        <p:nvPicPr>
          <p:cNvPr id="35" name="Picture 34"/>
          <p:cNvPicPr>
            <a:picLocks noChangeAspect="1"/>
          </p:cNvPicPr>
          <p:nvPr/>
        </p:nvPicPr>
        <p:blipFill>
          <a:blip r:embed="rId2"/>
          <a:stretch>
            <a:fillRect/>
          </a:stretch>
        </p:blipFill>
        <p:spPr>
          <a:xfrm>
            <a:off x="12472" y="102798"/>
            <a:ext cx="3523095" cy="644690"/>
          </a:xfrm>
          <a:prstGeom prst="rect">
            <a:avLst/>
          </a:prstGeom>
        </p:spPr>
      </p:pic>
      <p:grpSp>
        <p:nvGrpSpPr>
          <p:cNvPr id="3" name="Group 2"/>
          <p:cNvGrpSpPr/>
          <p:nvPr/>
        </p:nvGrpSpPr>
        <p:grpSpPr>
          <a:xfrm>
            <a:off x="134415" y="1074903"/>
            <a:ext cx="9024939" cy="5246696"/>
            <a:chOff x="134415" y="1193047"/>
            <a:chExt cx="9024939" cy="5246696"/>
          </a:xfrm>
        </p:grpSpPr>
        <p:sp>
          <p:nvSpPr>
            <p:cNvPr id="11" name="Rounded Rectangle 10"/>
            <p:cNvSpPr/>
            <p:nvPr/>
          </p:nvSpPr>
          <p:spPr bwMode="auto">
            <a:xfrm>
              <a:off x="4637798" y="3454360"/>
              <a:ext cx="2067801" cy="1322617"/>
            </a:xfrm>
            <a:prstGeom prst="roundRect">
              <a:avLst/>
            </a:prstGeom>
            <a:solidFill>
              <a:schemeClr val="accent3">
                <a:lumMod val="60000"/>
                <a:lumOff val="40000"/>
              </a:schemeClr>
            </a:solidFill>
            <a:ln>
              <a:solidFill>
                <a:schemeClr val="accent3">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4F81BD"/>
                </a:solidFill>
                <a:latin typeface="Calibri"/>
              </a:endParaRPr>
            </a:p>
          </p:txBody>
        </p:sp>
        <p:sp>
          <p:nvSpPr>
            <p:cNvPr id="12" name="Rounded Rectangle 11"/>
            <p:cNvSpPr/>
            <p:nvPr/>
          </p:nvSpPr>
          <p:spPr bwMode="auto">
            <a:xfrm>
              <a:off x="2432638" y="3454360"/>
              <a:ext cx="2124596" cy="1322617"/>
            </a:xfrm>
            <a:prstGeom prst="roundRect">
              <a:avLst/>
            </a:prstGeom>
            <a:solidFill>
              <a:schemeClr val="accent3">
                <a:lumMod val="60000"/>
                <a:lumOff val="40000"/>
              </a:schemeClr>
            </a:solidFill>
            <a:ln>
              <a:solidFill>
                <a:schemeClr val="accent3">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ln>
                  <a:solidFill>
                    <a:srgbClr val="000000"/>
                  </a:solidFill>
                </a:ln>
                <a:solidFill>
                  <a:srgbClr val="4F81BD"/>
                </a:solidFill>
                <a:latin typeface="Calibri"/>
              </a:endParaRPr>
            </a:p>
          </p:txBody>
        </p:sp>
        <p:sp>
          <p:nvSpPr>
            <p:cNvPr id="14" name="TextBox 13"/>
            <p:cNvSpPr txBox="1"/>
            <p:nvPr/>
          </p:nvSpPr>
          <p:spPr bwMode="auto">
            <a:xfrm>
              <a:off x="2548075" y="3492869"/>
              <a:ext cx="1816358" cy="938719"/>
            </a:xfrm>
            <a:prstGeom prst="rect">
              <a:avLst/>
            </a:prstGeom>
            <a:noFill/>
          </p:spPr>
          <p:txBody>
            <a:bodyPr wrap="square">
              <a:spAutoFit/>
            </a:bodyPr>
            <a:lstStyle/>
            <a:p>
              <a:pPr>
                <a:defRPr/>
              </a:pPr>
              <a:r>
                <a:rPr lang="en-US" sz="1100" b="1" u="sng" dirty="0" smtClean="0">
                  <a:solidFill>
                    <a:srgbClr val="000000"/>
                  </a:solidFill>
                  <a:latin typeface="Calibri"/>
                </a:rPr>
                <a:t>Data System</a:t>
              </a:r>
              <a:endParaRPr lang="en-US" sz="1100" b="1" u="sng" dirty="0">
                <a:solidFill>
                  <a:srgbClr val="000000"/>
                </a:solidFill>
                <a:latin typeface="Calibri"/>
              </a:endParaRPr>
            </a:p>
            <a:p>
              <a:pPr marL="171450" indent="-171450">
                <a:buFont typeface="Arial"/>
                <a:buChar char="•"/>
                <a:defRPr/>
              </a:pPr>
              <a:r>
                <a:rPr lang="en-US" sz="1100" dirty="0">
                  <a:solidFill>
                    <a:srgbClr val="000000"/>
                  </a:solidFill>
                  <a:latin typeface="Calibri"/>
                </a:rPr>
                <a:t>Link to Public </a:t>
              </a:r>
              <a:r>
                <a:rPr lang="en-US" sz="1100" dirty="0" smtClean="0">
                  <a:solidFill>
                    <a:srgbClr val="000000"/>
                  </a:solidFill>
                  <a:latin typeface="Calibri"/>
                </a:rPr>
                <a:t>Databases via Federation stds.</a:t>
              </a:r>
              <a:endParaRPr lang="en-US" sz="1100" dirty="0">
                <a:solidFill>
                  <a:srgbClr val="000000"/>
                </a:solidFill>
                <a:latin typeface="Calibri"/>
              </a:endParaRPr>
            </a:p>
            <a:p>
              <a:pPr marL="171450" indent="-171450">
                <a:buFont typeface="Arial"/>
                <a:buChar char="•"/>
                <a:defRPr/>
              </a:pPr>
              <a:r>
                <a:rPr lang="en-US" sz="1100" dirty="0">
                  <a:solidFill>
                    <a:srgbClr val="000000"/>
                  </a:solidFill>
                  <a:latin typeface="Calibri"/>
                </a:rPr>
                <a:t>Beta </a:t>
              </a:r>
              <a:r>
                <a:rPr lang="en-US" sz="1100" dirty="0" smtClean="0">
                  <a:solidFill>
                    <a:srgbClr val="000000"/>
                  </a:solidFill>
                  <a:latin typeface="Calibri"/>
                </a:rPr>
                <a:t>GeneLab Phase II -informatics system</a:t>
              </a:r>
              <a:endParaRPr lang="en-US" sz="1100" dirty="0">
                <a:solidFill>
                  <a:srgbClr val="000000"/>
                </a:solidFill>
                <a:latin typeface="Calibri"/>
              </a:endParaRPr>
            </a:p>
          </p:txBody>
        </p:sp>
        <p:sp>
          <p:nvSpPr>
            <p:cNvPr id="15" name="TextBox 14"/>
            <p:cNvSpPr txBox="1"/>
            <p:nvPr/>
          </p:nvSpPr>
          <p:spPr bwMode="auto">
            <a:xfrm>
              <a:off x="4658914" y="3492869"/>
              <a:ext cx="2089150" cy="1107996"/>
            </a:xfrm>
            <a:prstGeom prst="rect">
              <a:avLst/>
            </a:prstGeom>
            <a:noFill/>
          </p:spPr>
          <p:txBody>
            <a:bodyPr wrap="square">
              <a:spAutoFit/>
            </a:bodyPr>
            <a:lstStyle/>
            <a:p>
              <a:pPr>
                <a:defRPr/>
              </a:pPr>
              <a:r>
                <a:rPr lang="en-US" sz="1100" b="1" u="sng" dirty="0" smtClean="0">
                  <a:solidFill>
                    <a:srgbClr val="000000"/>
                  </a:solidFill>
                  <a:latin typeface="Calibri"/>
                </a:rPr>
                <a:t>Data System</a:t>
              </a:r>
              <a:endParaRPr lang="en-US" sz="1100" b="1" u="sng" dirty="0">
                <a:solidFill>
                  <a:srgbClr val="000000"/>
                </a:solidFill>
                <a:latin typeface="Calibri"/>
              </a:endParaRPr>
            </a:p>
            <a:p>
              <a:pPr marL="171450" indent="-171450">
                <a:buFont typeface="Arial"/>
                <a:buChar char="•"/>
                <a:defRPr/>
              </a:pPr>
              <a:r>
                <a:rPr lang="en-US" sz="1100" dirty="0">
                  <a:solidFill>
                    <a:srgbClr val="000000"/>
                  </a:solidFill>
                  <a:latin typeface="Calibri"/>
                </a:rPr>
                <a:t>Integrated Platform across model organisms</a:t>
              </a:r>
            </a:p>
            <a:p>
              <a:pPr marL="171450" indent="-171450">
                <a:buFont typeface="Arial"/>
                <a:buChar char="•"/>
                <a:defRPr/>
              </a:pPr>
              <a:r>
                <a:rPr lang="en-US" sz="1100" dirty="0">
                  <a:solidFill>
                    <a:srgbClr val="000000"/>
                  </a:solidFill>
                  <a:latin typeface="Calibri"/>
                </a:rPr>
                <a:t>Build Community via collaborative </a:t>
              </a:r>
              <a:r>
                <a:rPr lang="en-US" sz="1100" dirty="0" smtClean="0">
                  <a:solidFill>
                    <a:srgbClr val="000000"/>
                  </a:solidFill>
                  <a:latin typeface="Calibri"/>
                </a:rPr>
                <a:t>science analysis &amp; modeling </a:t>
              </a:r>
              <a:endParaRPr lang="en-US" sz="1100" dirty="0">
                <a:solidFill>
                  <a:srgbClr val="000000"/>
                </a:solidFill>
                <a:latin typeface="Calibri"/>
              </a:endParaRPr>
            </a:p>
          </p:txBody>
        </p:sp>
        <p:graphicFrame>
          <p:nvGraphicFramePr>
            <p:cNvPr id="16" name="Diagram 15"/>
            <p:cNvGraphicFramePr/>
            <p:nvPr>
              <p:extLst>
                <p:ext uri="{D42A27DB-BD31-4B8C-83A1-F6EECF244321}">
                  <p14:modId xmlns:p14="http://schemas.microsoft.com/office/powerpoint/2010/main" val="1916992086"/>
                </p:ext>
              </p:extLst>
            </p:nvPr>
          </p:nvGraphicFramePr>
          <p:xfrm>
            <a:off x="134415" y="2430056"/>
            <a:ext cx="9024939" cy="9311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Rounded Rectangle 16"/>
            <p:cNvSpPr/>
            <p:nvPr/>
          </p:nvSpPr>
          <p:spPr bwMode="auto">
            <a:xfrm>
              <a:off x="237778" y="3454360"/>
              <a:ext cx="2124422" cy="1294413"/>
            </a:xfrm>
            <a:prstGeom prst="roundRect">
              <a:avLst/>
            </a:prstGeom>
            <a:solidFill>
              <a:schemeClr val="accent3">
                <a:lumMod val="60000"/>
                <a:lumOff val="40000"/>
              </a:schemeClr>
            </a:solidFill>
            <a:ln>
              <a:solidFill>
                <a:schemeClr val="accent3">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Calibri"/>
              </a:endParaRPr>
            </a:p>
          </p:txBody>
        </p:sp>
        <p:sp>
          <p:nvSpPr>
            <p:cNvPr id="18" name="TextBox 17"/>
            <p:cNvSpPr txBox="1"/>
            <p:nvPr/>
          </p:nvSpPr>
          <p:spPr bwMode="auto">
            <a:xfrm>
              <a:off x="212652" y="3492869"/>
              <a:ext cx="2146300" cy="938719"/>
            </a:xfrm>
            <a:prstGeom prst="rect">
              <a:avLst/>
            </a:prstGeom>
            <a:noFill/>
          </p:spPr>
          <p:txBody>
            <a:bodyPr>
              <a:spAutoFit/>
            </a:bodyPr>
            <a:lstStyle/>
            <a:p>
              <a:pPr>
                <a:defRPr/>
              </a:pPr>
              <a:r>
                <a:rPr lang="en-US" sz="1100" b="1" u="sng" dirty="0" smtClean="0">
                  <a:solidFill>
                    <a:srgbClr val="000000"/>
                  </a:solidFill>
                  <a:latin typeface="Calibri"/>
                </a:rPr>
                <a:t>Data System</a:t>
              </a:r>
            </a:p>
            <a:p>
              <a:pPr marL="171450" indent="-171450">
                <a:buFont typeface="Wingdings" panose="05000000000000000000" pitchFamily="2" charset="2"/>
                <a:buChar char="ü"/>
                <a:defRPr/>
              </a:pPr>
              <a:r>
                <a:rPr lang="en-US" sz="1100" dirty="0" smtClean="0">
                  <a:solidFill>
                    <a:srgbClr val="000000"/>
                  </a:solidFill>
                  <a:latin typeface="Calibri"/>
                </a:rPr>
                <a:t>Public </a:t>
              </a:r>
              <a:r>
                <a:rPr lang="en-US" sz="1100" dirty="0">
                  <a:solidFill>
                    <a:srgbClr val="000000"/>
                  </a:solidFill>
                  <a:latin typeface="Calibri"/>
                </a:rPr>
                <a:t>Website</a:t>
              </a:r>
            </a:p>
            <a:p>
              <a:pPr marL="171450" indent="-171450">
                <a:buFont typeface="Wingdings" panose="05000000000000000000" pitchFamily="2" charset="2"/>
                <a:buChar char="ü"/>
                <a:defRPr/>
              </a:pPr>
              <a:r>
                <a:rPr lang="en-US" sz="1100" dirty="0">
                  <a:solidFill>
                    <a:srgbClr val="000000"/>
                  </a:solidFill>
                  <a:latin typeface="Calibri"/>
                </a:rPr>
                <a:t>Searchable Data Repository</a:t>
              </a:r>
            </a:p>
            <a:p>
              <a:pPr marL="171450" indent="-171450">
                <a:buFont typeface="Wingdings" panose="05000000000000000000" pitchFamily="2" charset="2"/>
                <a:buChar char="ü"/>
                <a:defRPr/>
              </a:pPr>
              <a:r>
                <a:rPr lang="en-US" sz="1100" dirty="0" smtClean="0">
                  <a:solidFill>
                    <a:srgbClr val="000000"/>
                  </a:solidFill>
                  <a:latin typeface="Calibri"/>
                </a:rPr>
                <a:t>Top Level Requirements</a:t>
              </a:r>
            </a:p>
            <a:p>
              <a:pPr marL="171450" indent="-171450">
                <a:buFont typeface="Wingdings" panose="05000000000000000000" pitchFamily="2" charset="2"/>
                <a:buChar char="ü"/>
                <a:defRPr/>
              </a:pPr>
              <a:r>
                <a:rPr lang="en-US" sz="1100" dirty="0" smtClean="0">
                  <a:solidFill>
                    <a:srgbClr val="000000"/>
                  </a:solidFill>
                  <a:latin typeface="Calibri"/>
                </a:rPr>
                <a:t>New Data and Legacy Data</a:t>
              </a:r>
            </a:p>
          </p:txBody>
        </p:sp>
        <p:sp>
          <p:nvSpPr>
            <p:cNvPr id="19" name="Right Triangle 18"/>
            <p:cNvSpPr/>
            <p:nvPr/>
          </p:nvSpPr>
          <p:spPr bwMode="auto">
            <a:xfrm flipH="1">
              <a:off x="221728" y="1623347"/>
              <a:ext cx="8523288" cy="693737"/>
            </a:xfrm>
            <a:prstGeom prst="rtTriangle">
              <a:avLst/>
            </a:prstGeom>
            <a:gradFill flip="none" rotWithShape="1">
              <a:gsLst>
                <a:gs pos="36000">
                  <a:srgbClr val="FAC090"/>
                </a:gs>
                <a:gs pos="100000">
                  <a:srgbClr val="FFFFFF"/>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Calibri"/>
              </a:endParaRPr>
            </a:p>
          </p:txBody>
        </p:sp>
        <p:sp>
          <p:nvSpPr>
            <p:cNvPr id="20" name="TextBox 17"/>
            <p:cNvSpPr txBox="1">
              <a:spLocks noChangeArrowheads="1"/>
            </p:cNvSpPr>
            <p:nvPr/>
          </p:nvSpPr>
          <p:spPr bwMode="auto">
            <a:xfrm>
              <a:off x="7595468" y="1193047"/>
              <a:ext cx="1149043" cy="4308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2000" b="1">
                  <a:solidFill>
                    <a:schemeClr val="tx1"/>
                  </a:solidFill>
                  <a:latin typeface="Calibri" panose="020F0502020204030204" pitchFamily="34" charset="0"/>
                  <a:ea typeface="ヒラギノ角ゴ Pro W3"/>
                  <a:cs typeface="Arial" panose="020B0604020202020204" pitchFamily="34" charset="0"/>
                </a:defRPr>
              </a:lvl1pPr>
              <a:lvl2pPr marL="742950" indent="-285750">
                <a:spcBef>
                  <a:spcPct val="20000"/>
                </a:spcBef>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2pPr>
              <a:lvl3pPr marL="1143000" indent="-228600">
                <a:spcBef>
                  <a:spcPct val="20000"/>
                </a:spcBef>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3pPr>
              <a:lvl4pPr marL="1600200" indent="-228600">
                <a:spcBef>
                  <a:spcPct val="20000"/>
                </a:spcBef>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4pPr>
              <a:lvl5pPr marL="2057400" indent="-228600">
                <a:spcBef>
                  <a:spcPct val="20000"/>
                </a:spcBef>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9pPr>
            </a:lstStyle>
            <a:p>
              <a:pPr>
                <a:spcBef>
                  <a:spcPct val="0"/>
                </a:spcBef>
                <a:buFontTx/>
                <a:buNone/>
              </a:pPr>
              <a:r>
                <a:rPr lang="en-US" altLang="en-US" sz="1100" b="0" dirty="0">
                  <a:solidFill>
                    <a:prstClr val="black"/>
                  </a:solidFill>
                </a:rPr>
                <a:t>Full</a:t>
              </a:r>
            </a:p>
            <a:p>
              <a:pPr>
                <a:spcBef>
                  <a:spcPct val="0"/>
                </a:spcBef>
                <a:buFontTx/>
                <a:buNone/>
              </a:pPr>
              <a:r>
                <a:rPr lang="en-US" altLang="en-US" sz="1100" b="0" dirty="0">
                  <a:solidFill>
                    <a:prstClr val="black"/>
                  </a:solidFill>
                </a:rPr>
                <a:t>Implementation</a:t>
              </a:r>
            </a:p>
          </p:txBody>
        </p:sp>
        <p:grpSp>
          <p:nvGrpSpPr>
            <p:cNvPr id="21" name="Group 20"/>
            <p:cNvGrpSpPr>
              <a:grpSpLocks/>
            </p:cNvGrpSpPr>
            <p:nvPr/>
          </p:nvGrpSpPr>
          <p:grpSpPr bwMode="auto">
            <a:xfrm>
              <a:off x="220047" y="2177095"/>
              <a:ext cx="139866" cy="139849"/>
              <a:chOff x="2344221" y="1527419"/>
              <a:chExt cx="139874" cy="139874"/>
            </a:xfrm>
          </p:grpSpPr>
          <p:sp>
            <p:nvSpPr>
              <p:cNvPr id="28" name="Oval 27"/>
              <p:cNvSpPr/>
              <p:nvPr/>
            </p:nvSpPr>
            <p:spPr>
              <a:xfrm>
                <a:off x="2344314" y="1527709"/>
                <a:ext cx="139708" cy="139724"/>
              </a:xfrm>
              <a:prstGeom prst="ellipse">
                <a:avLst/>
              </a:prstGeom>
              <a:solidFill>
                <a:schemeClr val="accent5">
                  <a:lumMod val="10000"/>
                </a:schemeClr>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Calibri"/>
                </a:endParaRPr>
              </a:p>
            </p:txBody>
          </p:sp>
          <p:sp>
            <p:nvSpPr>
              <p:cNvPr id="29" name="Oval 28"/>
              <p:cNvSpPr/>
              <p:nvPr/>
            </p:nvSpPr>
            <p:spPr>
              <a:xfrm>
                <a:off x="2385591" y="1568991"/>
                <a:ext cx="57153" cy="57160"/>
              </a:xfrm>
              <a:prstGeom prst="ellipse">
                <a:avLst/>
              </a:prstGeom>
              <a:solidFill>
                <a:schemeClr val="accent5">
                  <a:lumMod val="90000"/>
                </a:schemeClr>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Calibri"/>
                </a:endParaRPr>
              </a:p>
            </p:txBody>
          </p:sp>
        </p:grpSp>
        <p:cxnSp>
          <p:nvCxnSpPr>
            <p:cNvPr id="22" name="Straight Connector 21"/>
            <p:cNvCxnSpPr/>
            <p:nvPr/>
          </p:nvCxnSpPr>
          <p:spPr bwMode="auto">
            <a:xfrm>
              <a:off x="8514771" y="1628110"/>
              <a:ext cx="0" cy="647699"/>
            </a:xfrm>
            <a:prstGeom prst="line">
              <a:avLst/>
            </a:prstGeom>
          </p:spPr>
          <p:style>
            <a:lnRef idx="2">
              <a:schemeClr val="accent1"/>
            </a:lnRef>
            <a:fillRef idx="0">
              <a:schemeClr val="accent1"/>
            </a:fillRef>
            <a:effectRef idx="1">
              <a:schemeClr val="accent1"/>
            </a:effectRef>
            <a:fontRef idx="minor">
              <a:schemeClr val="tx1"/>
            </a:fontRef>
          </p:style>
        </p:cxnSp>
        <p:grpSp>
          <p:nvGrpSpPr>
            <p:cNvPr id="23" name="Group 22"/>
            <p:cNvGrpSpPr>
              <a:grpSpLocks/>
            </p:cNvGrpSpPr>
            <p:nvPr/>
          </p:nvGrpSpPr>
          <p:grpSpPr bwMode="auto">
            <a:xfrm>
              <a:off x="8444921" y="2177385"/>
              <a:ext cx="139700" cy="139699"/>
              <a:chOff x="3143431" y="1527709"/>
              <a:chExt cx="139708" cy="139724"/>
            </a:xfrm>
          </p:grpSpPr>
          <p:sp>
            <p:nvSpPr>
              <p:cNvPr id="26" name="Oval 25"/>
              <p:cNvSpPr/>
              <p:nvPr/>
            </p:nvSpPr>
            <p:spPr>
              <a:xfrm>
                <a:off x="3143431" y="1527709"/>
                <a:ext cx="139708" cy="139724"/>
              </a:xfrm>
              <a:prstGeom prst="ellipse">
                <a:avLst/>
              </a:prstGeom>
              <a:solidFill>
                <a:schemeClr val="accent5">
                  <a:lumMod val="10000"/>
                </a:schemeClr>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Calibri"/>
                </a:endParaRPr>
              </a:p>
            </p:txBody>
          </p:sp>
          <p:sp>
            <p:nvSpPr>
              <p:cNvPr id="27" name="Oval 26"/>
              <p:cNvSpPr/>
              <p:nvPr/>
            </p:nvSpPr>
            <p:spPr>
              <a:xfrm>
                <a:off x="3213285" y="1610272"/>
                <a:ext cx="57153" cy="57160"/>
              </a:xfrm>
              <a:prstGeom prst="ellipse">
                <a:avLst/>
              </a:prstGeom>
              <a:solidFill>
                <a:schemeClr val="accent5">
                  <a:lumMod val="90000"/>
                </a:schemeClr>
              </a:solid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Calibri"/>
                </a:endParaRPr>
              </a:p>
            </p:txBody>
          </p:sp>
        </p:grpSp>
        <p:sp>
          <p:nvSpPr>
            <p:cNvPr id="24" name="Rounded Rectangle 23"/>
            <p:cNvSpPr/>
            <p:nvPr/>
          </p:nvSpPr>
          <p:spPr bwMode="auto">
            <a:xfrm>
              <a:off x="6781800" y="3454361"/>
              <a:ext cx="2016491" cy="1294412"/>
            </a:xfrm>
            <a:prstGeom prst="roundRect">
              <a:avLst/>
            </a:prstGeom>
            <a:solidFill>
              <a:schemeClr val="accent3">
                <a:lumMod val="60000"/>
                <a:lumOff val="40000"/>
              </a:schemeClr>
            </a:solidFill>
            <a:ln>
              <a:solidFill>
                <a:schemeClr val="accent3">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Calibri"/>
              </a:endParaRPr>
            </a:p>
          </p:txBody>
        </p:sp>
        <p:sp>
          <p:nvSpPr>
            <p:cNvPr id="25" name="TextBox 24"/>
            <p:cNvSpPr txBox="1"/>
            <p:nvPr/>
          </p:nvSpPr>
          <p:spPr bwMode="auto">
            <a:xfrm>
              <a:off x="6832667" y="3492869"/>
              <a:ext cx="1911844" cy="769441"/>
            </a:xfrm>
            <a:prstGeom prst="rect">
              <a:avLst/>
            </a:prstGeom>
            <a:noFill/>
          </p:spPr>
          <p:txBody>
            <a:bodyPr wrap="square">
              <a:spAutoFit/>
            </a:bodyPr>
            <a:lstStyle/>
            <a:p>
              <a:pPr>
                <a:defRPr/>
              </a:pPr>
              <a:r>
                <a:rPr lang="en-US" sz="1100" b="1" u="sng" dirty="0">
                  <a:solidFill>
                    <a:srgbClr val="000000"/>
                  </a:solidFill>
                  <a:latin typeface="Calibri"/>
                </a:rPr>
                <a:t>Data </a:t>
              </a:r>
              <a:r>
                <a:rPr lang="en-US" sz="1100" b="1" u="sng" dirty="0" smtClean="0">
                  <a:solidFill>
                    <a:srgbClr val="000000"/>
                  </a:solidFill>
                  <a:latin typeface="Calibri"/>
                </a:rPr>
                <a:t>System</a:t>
              </a:r>
              <a:endParaRPr lang="en-US" sz="1100" dirty="0" smtClean="0">
                <a:solidFill>
                  <a:srgbClr val="000000"/>
                </a:solidFill>
                <a:latin typeface="Calibri"/>
              </a:endParaRPr>
            </a:p>
            <a:p>
              <a:pPr marL="171450" indent="-171450">
                <a:buFont typeface="Arial"/>
                <a:buChar char="•"/>
                <a:defRPr/>
              </a:pPr>
              <a:r>
                <a:rPr lang="en-US" sz="1100" dirty="0" smtClean="0">
                  <a:solidFill>
                    <a:srgbClr val="000000"/>
                  </a:solidFill>
                  <a:latin typeface="Calibri"/>
                </a:rPr>
                <a:t>Website </a:t>
              </a:r>
              <a:r>
                <a:rPr lang="en-US" sz="1100" dirty="0">
                  <a:solidFill>
                    <a:srgbClr val="000000"/>
                  </a:solidFill>
                  <a:latin typeface="Calibri"/>
                </a:rPr>
                <a:t>and platform sustaining activities</a:t>
              </a:r>
            </a:p>
            <a:p>
              <a:pPr marL="171450" indent="-171450">
                <a:buFont typeface="Arial"/>
                <a:buChar char="•"/>
                <a:defRPr/>
              </a:pPr>
              <a:r>
                <a:rPr lang="en-US" sz="1100" dirty="0">
                  <a:solidFill>
                    <a:srgbClr val="000000"/>
                  </a:solidFill>
                  <a:latin typeface="Calibri"/>
                </a:rPr>
                <a:t>Continuous improvement</a:t>
              </a:r>
            </a:p>
          </p:txBody>
        </p:sp>
        <p:sp>
          <p:nvSpPr>
            <p:cNvPr id="38" name="Rounded Rectangle 37"/>
            <p:cNvSpPr/>
            <p:nvPr/>
          </p:nvSpPr>
          <p:spPr bwMode="auto">
            <a:xfrm>
              <a:off x="237778" y="4843983"/>
              <a:ext cx="2124422" cy="1595760"/>
            </a:xfrm>
            <a:prstGeom prst="roundRect">
              <a:avLst/>
            </a:prstGeom>
            <a:solidFill>
              <a:schemeClr val="accent4">
                <a:lumMod val="40000"/>
                <a:lumOff val="60000"/>
              </a:schemeClr>
            </a:solidFill>
            <a:ln>
              <a:solidFill>
                <a:schemeClr val="accent4">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Calibri"/>
              </a:endParaRPr>
            </a:p>
          </p:txBody>
        </p:sp>
        <p:cxnSp>
          <p:nvCxnSpPr>
            <p:cNvPr id="30" name="Straight Arrow Connector 29"/>
            <p:cNvCxnSpPr/>
            <p:nvPr/>
          </p:nvCxnSpPr>
          <p:spPr>
            <a:xfrm flipH="1">
              <a:off x="2696854" y="2040659"/>
              <a:ext cx="78232" cy="778793"/>
            </a:xfrm>
            <a:prstGeom prst="straightConnector1">
              <a:avLst/>
            </a:prstGeom>
            <a:ln w="57150">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31" name="Isosceles Triangle 30"/>
            <p:cNvSpPr/>
            <p:nvPr/>
          </p:nvSpPr>
          <p:spPr>
            <a:xfrm>
              <a:off x="2463586" y="2877481"/>
              <a:ext cx="387787" cy="398326"/>
            </a:xfrm>
            <a:prstGeom prst="triangle">
              <a:avLst/>
            </a:prstGeom>
            <a:solidFill>
              <a:srgbClr val="FF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32" name="TextBox 31"/>
            <p:cNvSpPr txBox="1"/>
            <p:nvPr/>
          </p:nvSpPr>
          <p:spPr>
            <a:xfrm>
              <a:off x="2027231" y="1510452"/>
              <a:ext cx="2004010" cy="523220"/>
            </a:xfrm>
            <a:prstGeom prst="rect">
              <a:avLst/>
            </a:prstGeom>
            <a:noFill/>
          </p:spPr>
          <p:txBody>
            <a:bodyPr wrap="none" rtlCol="0">
              <a:spAutoFit/>
            </a:bodyPr>
            <a:lstStyle/>
            <a:p>
              <a:r>
                <a:rPr lang="en-US" sz="2800" b="1" dirty="0" smtClean="0">
                  <a:solidFill>
                    <a:srgbClr val="FF0000"/>
                  </a:solidFill>
                  <a:latin typeface="Calibri"/>
                </a:rPr>
                <a:t>We are here</a:t>
              </a:r>
              <a:endParaRPr lang="en-US" sz="2800" b="1" dirty="0">
                <a:solidFill>
                  <a:srgbClr val="FF0000"/>
                </a:solidFill>
                <a:latin typeface="Calibri"/>
              </a:endParaRPr>
            </a:p>
          </p:txBody>
        </p:sp>
        <p:sp>
          <p:nvSpPr>
            <p:cNvPr id="33" name="TextBox 32"/>
            <p:cNvSpPr txBox="1"/>
            <p:nvPr/>
          </p:nvSpPr>
          <p:spPr>
            <a:xfrm>
              <a:off x="1422108" y="3407848"/>
              <a:ext cx="976549" cy="523220"/>
            </a:xfrm>
            <a:prstGeom prst="rect">
              <a:avLst/>
            </a:prstGeom>
            <a:noFill/>
          </p:spPr>
          <p:txBody>
            <a:bodyPr wrap="none" rtlCol="0">
              <a:spAutoFit/>
            </a:bodyPr>
            <a:lstStyle/>
            <a:p>
              <a:r>
                <a:rPr lang="en-US" sz="2800" b="1" dirty="0" smtClean="0">
                  <a:solidFill>
                    <a:srgbClr val="FF0000"/>
                  </a:solidFill>
                  <a:latin typeface="Calibri"/>
                </a:rPr>
                <a:t>Done</a:t>
              </a:r>
              <a:endParaRPr lang="en-US" sz="2800" b="1" dirty="0">
                <a:solidFill>
                  <a:srgbClr val="FF0000"/>
                </a:solidFill>
                <a:latin typeface="Calibri"/>
              </a:endParaRPr>
            </a:p>
          </p:txBody>
        </p:sp>
        <p:sp>
          <p:nvSpPr>
            <p:cNvPr id="34" name="TextBox 33"/>
            <p:cNvSpPr txBox="1"/>
            <p:nvPr/>
          </p:nvSpPr>
          <p:spPr>
            <a:xfrm>
              <a:off x="3443402" y="3384651"/>
              <a:ext cx="1440202" cy="523220"/>
            </a:xfrm>
            <a:prstGeom prst="rect">
              <a:avLst/>
            </a:prstGeom>
            <a:noFill/>
          </p:spPr>
          <p:txBody>
            <a:bodyPr wrap="none" rtlCol="0">
              <a:spAutoFit/>
            </a:bodyPr>
            <a:lstStyle/>
            <a:p>
              <a:r>
                <a:rPr lang="en-US" sz="2800" b="1" dirty="0" smtClean="0">
                  <a:solidFill>
                    <a:srgbClr val="FF0000"/>
                  </a:solidFill>
                  <a:latin typeface="Calibri"/>
                </a:rPr>
                <a:t>Working</a:t>
              </a:r>
              <a:endParaRPr lang="en-US" sz="2800" b="1" dirty="0">
                <a:solidFill>
                  <a:srgbClr val="FF0000"/>
                </a:solidFill>
                <a:latin typeface="Calibri"/>
              </a:endParaRPr>
            </a:p>
          </p:txBody>
        </p:sp>
        <p:sp>
          <p:nvSpPr>
            <p:cNvPr id="45" name="Rounded Rectangle 44"/>
            <p:cNvSpPr/>
            <p:nvPr/>
          </p:nvSpPr>
          <p:spPr bwMode="auto">
            <a:xfrm>
              <a:off x="2432637" y="4843983"/>
              <a:ext cx="2124597" cy="1595760"/>
            </a:xfrm>
            <a:prstGeom prst="roundRect">
              <a:avLst/>
            </a:prstGeom>
            <a:solidFill>
              <a:schemeClr val="accent4">
                <a:lumMod val="40000"/>
                <a:lumOff val="60000"/>
              </a:schemeClr>
            </a:solidFill>
            <a:ln>
              <a:solidFill>
                <a:schemeClr val="accent4">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Calibri"/>
              </a:endParaRPr>
            </a:p>
          </p:txBody>
        </p:sp>
        <p:sp>
          <p:nvSpPr>
            <p:cNvPr id="46" name="Rounded Rectangle 45"/>
            <p:cNvSpPr/>
            <p:nvPr/>
          </p:nvSpPr>
          <p:spPr bwMode="auto">
            <a:xfrm>
              <a:off x="4615873" y="4843983"/>
              <a:ext cx="2089728" cy="1595760"/>
            </a:xfrm>
            <a:prstGeom prst="roundRect">
              <a:avLst/>
            </a:prstGeom>
            <a:solidFill>
              <a:schemeClr val="accent4">
                <a:lumMod val="40000"/>
                <a:lumOff val="60000"/>
              </a:schemeClr>
            </a:solidFill>
            <a:ln>
              <a:solidFill>
                <a:schemeClr val="accent4">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Calibri"/>
              </a:endParaRPr>
            </a:p>
          </p:txBody>
        </p:sp>
        <p:sp>
          <p:nvSpPr>
            <p:cNvPr id="47" name="Rounded Rectangle 46"/>
            <p:cNvSpPr/>
            <p:nvPr/>
          </p:nvSpPr>
          <p:spPr bwMode="auto">
            <a:xfrm>
              <a:off x="6781800" y="4843983"/>
              <a:ext cx="2016491" cy="1595760"/>
            </a:xfrm>
            <a:prstGeom prst="roundRect">
              <a:avLst/>
            </a:prstGeom>
            <a:solidFill>
              <a:schemeClr val="accent4">
                <a:lumMod val="40000"/>
                <a:lumOff val="60000"/>
              </a:schemeClr>
            </a:solidFill>
            <a:ln>
              <a:solidFill>
                <a:schemeClr val="accent4">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Calibri"/>
              </a:endParaRPr>
            </a:p>
          </p:txBody>
        </p:sp>
        <p:sp>
          <p:nvSpPr>
            <p:cNvPr id="48" name="TextBox 47"/>
            <p:cNvSpPr txBox="1"/>
            <p:nvPr/>
          </p:nvSpPr>
          <p:spPr bwMode="auto">
            <a:xfrm>
              <a:off x="274267" y="4823916"/>
              <a:ext cx="2146300" cy="1615827"/>
            </a:xfrm>
            <a:prstGeom prst="rect">
              <a:avLst/>
            </a:prstGeom>
            <a:noFill/>
          </p:spPr>
          <p:txBody>
            <a:bodyPr>
              <a:spAutoFit/>
            </a:bodyPr>
            <a:lstStyle/>
            <a:p>
              <a:pPr>
                <a:defRPr/>
              </a:pPr>
              <a:r>
                <a:rPr lang="en-US" sz="1100" b="1" u="sng" dirty="0" smtClean="0">
                  <a:solidFill>
                    <a:srgbClr val="000000"/>
                  </a:solidFill>
                  <a:latin typeface="Calibri"/>
                </a:rPr>
                <a:t>Spaceflight Experiments</a:t>
              </a:r>
            </a:p>
            <a:p>
              <a:pPr marL="285750" indent="-285750">
                <a:buFont typeface="Wingdings" panose="05000000000000000000" pitchFamily="2" charset="2"/>
                <a:buChar char="ü"/>
                <a:defRPr/>
              </a:pPr>
              <a:r>
                <a:rPr lang="en-US" sz="1100" dirty="0" smtClean="0">
                  <a:solidFill>
                    <a:srgbClr val="000000"/>
                  </a:solidFill>
                  <a:latin typeface="Calibri"/>
                </a:rPr>
                <a:t>At least two Collaborative Missions (BRIC19 and BRIC20)</a:t>
              </a:r>
            </a:p>
            <a:p>
              <a:pPr marL="285750" indent="-285750">
                <a:buFont typeface="Wingdings" panose="05000000000000000000" pitchFamily="2" charset="2"/>
                <a:buChar char="ü"/>
                <a:defRPr/>
              </a:pPr>
              <a:r>
                <a:rPr lang="en-US" sz="1100" dirty="0" smtClean="0">
                  <a:solidFill>
                    <a:srgbClr val="000000"/>
                  </a:solidFill>
                  <a:latin typeface="Calibri"/>
                </a:rPr>
                <a:t>Establish PI Data Agreements</a:t>
              </a:r>
            </a:p>
            <a:p>
              <a:pPr marL="285750" indent="-285750">
                <a:buFont typeface="Wingdings" panose="05000000000000000000" pitchFamily="2" charset="2"/>
                <a:buChar char="ü"/>
                <a:defRPr/>
              </a:pPr>
              <a:r>
                <a:rPr lang="en-US" sz="1100" dirty="0" smtClean="0">
                  <a:solidFill>
                    <a:srgbClr val="000000"/>
                  </a:solidFill>
                  <a:latin typeface="Calibri"/>
                </a:rPr>
                <a:t>Data analysis validation</a:t>
              </a:r>
            </a:p>
            <a:p>
              <a:pPr marL="285750" indent="-285750">
                <a:buFont typeface="Wingdings" panose="05000000000000000000" pitchFamily="2" charset="2"/>
                <a:buChar char="ü"/>
                <a:defRPr/>
              </a:pPr>
              <a:r>
                <a:rPr lang="en-US" sz="1100" dirty="0" smtClean="0">
                  <a:solidFill>
                    <a:srgbClr val="000000"/>
                  </a:solidFill>
                  <a:latin typeface="Calibri"/>
                </a:rPr>
                <a:t>Science Definition Team for first Dedicated Reference Mission (now RFI)</a:t>
              </a:r>
              <a:endParaRPr lang="en-US" sz="1100" dirty="0">
                <a:solidFill>
                  <a:srgbClr val="000000"/>
                </a:solidFill>
                <a:latin typeface="Calibri"/>
              </a:endParaRPr>
            </a:p>
          </p:txBody>
        </p:sp>
        <p:sp>
          <p:nvSpPr>
            <p:cNvPr id="49" name="TextBox 48"/>
            <p:cNvSpPr txBox="1"/>
            <p:nvPr/>
          </p:nvSpPr>
          <p:spPr bwMode="auto">
            <a:xfrm>
              <a:off x="2498238" y="4823916"/>
              <a:ext cx="1816358" cy="1446550"/>
            </a:xfrm>
            <a:prstGeom prst="rect">
              <a:avLst/>
            </a:prstGeom>
            <a:noFill/>
          </p:spPr>
          <p:txBody>
            <a:bodyPr wrap="square">
              <a:spAutoFit/>
            </a:bodyPr>
            <a:lstStyle/>
            <a:p>
              <a:pPr>
                <a:defRPr/>
              </a:pPr>
              <a:r>
                <a:rPr lang="en-US" sz="1100" b="1" u="sng" dirty="0" smtClean="0">
                  <a:solidFill>
                    <a:srgbClr val="000000"/>
                  </a:solidFill>
                  <a:latin typeface="Calibri"/>
                </a:rPr>
                <a:t>Spaceflight Experiments</a:t>
              </a:r>
              <a:endParaRPr lang="en-US" sz="1100" b="1" u="sng" dirty="0">
                <a:solidFill>
                  <a:srgbClr val="000000"/>
                </a:solidFill>
                <a:latin typeface="Calibri"/>
              </a:endParaRPr>
            </a:p>
            <a:p>
              <a:pPr marL="285750" indent="-285750">
                <a:buFont typeface="Arial"/>
                <a:buChar char="•"/>
                <a:defRPr/>
              </a:pPr>
              <a:r>
                <a:rPr lang="en-US" sz="1100" dirty="0" err="1" smtClean="0">
                  <a:solidFill>
                    <a:srgbClr val="000000"/>
                  </a:solidFill>
                  <a:latin typeface="Calibri"/>
                </a:rPr>
                <a:t>Omics</a:t>
              </a:r>
              <a:r>
                <a:rPr lang="en-US" sz="1100" dirty="0" smtClean="0">
                  <a:solidFill>
                    <a:srgbClr val="000000"/>
                  </a:solidFill>
                  <a:latin typeface="Calibri"/>
                </a:rPr>
                <a:t> Center Standards for samples</a:t>
              </a:r>
              <a:endParaRPr lang="en-US" sz="1100" dirty="0">
                <a:solidFill>
                  <a:srgbClr val="000000"/>
                </a:solidFill>
                <a:latin typeface="Calibri"/>
              </a:endParaRPr>
            </a:p>
            <a:p>
              <a:pPr marL="285750" indent="-285750">
                <a:buFont typeface="Arial"/>
                <a:buChar char="•"/>
                <a:defRPr/>
              </a:pPr>
              <a:r>
                <a:rPr lang="en-US" sz="1100" dirty="0" smtClean="0">
                  <a:solidFill>
                    <a:srgbClr val="000000"/>
                  </a:solidFill>
                  <a:latin typeface="Calibri"/>
                </a:rPr>
                <a:t>NRA for Data </a:t>
              </a:r>
              <a:r>
                <a:rPr lang="en-US" sz="1100" dirty="0">
                  <a:solidFill>
                    <a:srgbClr val="000000"/>
                  </a:solidFill>
                  <a:latin typeface="Calibri"/>
                </a:rPr>
                <a:t>analysis from initial </a:t>
              </a:r>
              <a:r>
                <a:rPr lang="en-US" sz="1100" dirty="0" smtClean="0">
                  <a:solidFill>
                    <a:srgbClr val="000000"/>
                  </a:solidFill>
                  <a:latin typeface="Calibri"/>
                </a:rPr>
                <a:t>studies</a:t>
              </a:r>
              <a:endParaRPr lang="en-US" sz="1100" dirty="0">
                <a:solidFill>
                  <a:srgbClr val="000000"/>
                </a:solidFill>
                <a:latin typeface="Calibri"/>
              </a:endParaRPr>
            </a:p>
            <a:p>
              <a:pPr marL="285750" indent="-285750">
                <a:buFont typeface="Arial"/>
                <a:buChar char="•"/>
                <a:defRPr/>
              </a:pPr>
              <a:r>
                <a:rPr lang="en-US" sz="1100" dirty="0">
                  <a:solidFill>
                    <a:srgbClr val="000000"/>
                  </a:solidFill>
                  <a:latin typeface="Calibri"/>
                </a:rPr>
                <a:t>Science </a:t>
              </a:r>
              <a:r>
                <a:rPr lang="en-US" sz="1100" dirty="0" smtClean="0">
                  <a:solidFill>
                    <a:srgbClr val="000000"/>
                  </a:solidFill>
                  <a:latin typeface="Calibri"/>
                </a:rPr>
                <a:t>Definition Teams for one dedicated mission/</a:t>
              </a:r>
              <a:r>
                <a:rPr lang="en-US" sz="1100" dirty="0" err="1" smtClean="0">
                  <a:solidFill>
                    <a:srgbClr val="000000"/>
                  </a:solidFill>
                  <a:latin typeface="Calibri"/>
                </a:rPr>
                <a:t>yr</a:t>
              </a:r>
              <a:endParaRPr lang="en-US" sz="1100" dirty="0">
                <a:solidFill>
                  <a:srgbClr val="000000"/>
                </a:solidFill>
                <a:latin typeface="Calibri"/>
              </a:endParaRPr>
            </a:p>
          </p:txBody>
        </p:sp>
        <p:sp>
          <p:nvSpPr>
            <p:cNvPr id="50" name="TextBox 49"/>
            <p:cNvSpPr txBox="1"/>
            <p:nvPr/>
          </p:nvSpPr>
          <p:spPr bwMode="auto">
            <a:xfrm>
              <a:off x="4698037" y="4823916"/>
              <a:ext cx="2089150" cy="1615827"/>
            </a:xfrm>
            <a:prstGeom prst="rect">
              <a:avLst/>
            </a:prstGeom>
            <a:noFill/>
          </p:spPr>
          <p:txBody>
            <a:bodyPr wrap="square">
              <a:spAutoFit/>
            </a:bodyPr>
            <a:lstStyle/>
            <a:p>
              <a:pPr>
                <a:defRPr/>
              </a:pPr>
              <a:r>
                <a:rPr lang="en-US" sz="1100" b="1" u="sng" dirty="0" smtClean="0">
                  <a:solidFill>
                    <a:srgbClr val="000000"/>
                  </a:solidFill>
                  <a:latin typeface="Calibri"/>
                </a:rPr>
                <a:t>Spaceflight Experiments/Analysis</a:t>
              </a:r>
              <a:endParaRPr lang="en-US" sz="1100" b="1" u="sng" dirty="0">
                <a:solidFill>
                  <a:srgbClr val="000000"/>
                </a:solidFill>
                <a:latin typeface="Calibri"/>
              </a:endParaRPr>
            </a:p>
            <a:p>
              <a:pPr marL="171450" indent="-171450">
                <a:buFont typeface="Arial"/>
                <a:buChar char="•"/>
                <a:defRPr/>
              </a:pPr>
              <a:r>
                <a:rPr lang="en-US" sz="1100" dirty="0">
                  <a:solidFill>
                    <a:srgbClr val="000000"/>
                  </a:solidFill>
                  <a:latin typeface="Calibri"/>
                </a:rPr>
                <a:t>Continue ground controls and process enhancement </a:t>
              </a:r>
            </a:p>
            <a:p>
              <a:pPr marL="171450" indent="-171450">
                <a:buFont typeface="Arial"/>
                <a:buChar char="•"/>
                <a:defRPr/>
              </a:pPr>
              <a:r>
                <a:rPr lang="en-US" sz="1100" dirty="0">
                  <a:solidFill>
                    <a:srgbClr val="000000"/>
                  </a:solidFill>
                  <a:latin typeface="Calibri"/>
                </a:rPr>
                <a:t>Engage with Scientists external to NASA as part of Outreach Program</a:t>
              </a:r>
            </a:p>
            <a:p>
              <a:pPr marL="171450" indent="-171450">
                <a:buFont typeface="Arial"/>
                <a:buChar char="•"/>
                <a:defRPr/>
              </a:pPr>
              <a:r>
                <a:rPr lang="en-US" sz="1100" dirty="0">
                  <a:solidFill>
                    <a:srgbClr val="000000"/>
                  </a:solidFill>
                  <a:latin typeface="Calibri"/>
                </a:rPr>
                <a:t>Dedicated flight </a:t>
              </a:r>
              <a:r>
                <a:rPr lang="en-US" sz="1100" dirty="0" smtClean="0">
                  <a:solidFill>
                    <a:srgbClr val="000000"/>
                  </a:solidFill>
                  <a:latin typeface="Calibri"/>
                </a:rPr>
                <a:t>experiments every year</a:t>
              </a:r>
              <a:endParaRPr lang="en-US" sz="1100" dirty="0">
                <a:solidFill>
                  <a:srgbClr val="000000"/>
                </a:solidFill>
                <a:latin typeface="Calibri"/>
              </a:endParaRPr>
            </a:p>
          </p:txBody>
        </p:sp>
        <p:sp>
          <p:nvSpPr>
            <p:cNvPr id="51" name="TextBox 50"/>
            <p:cNvSpPr txBox="1"/>
            <p:nvPr/>
          </p:nvSpPr>
          <p:spPr bwMode="auto">
            <a:xfrm>
              <a:off x="6906665" y="4823916"/>
              <a:ext cx="1754020" cy="1277273"/>
            </a:xfrm>
            <a:prstGeom prst="rect">
              <a:avLst/>
            </a:prstGeom>
            <a:noFill/>
          </p:spPr>
          <p:txBody>
            <a:bodyPr wrap="square">
              <a:spAutoFit/>
            </a:bodyPr>
            <a:lstStyle/>
            <a:p>
              <a:pPr>
                <a:defRPr/>
              </a:pPr>
              <a:r>
                <a:rPr lang="en-US" sz="1100" b="1" u="sng" dirty="0" smtClean="0">
                  <a:solidFill>
                    <a:srgbClr val="000000"/>
                  </a:solidFill>
                  <a:latin typeface="Calibri"/>
                </a:rPr>
                <a:t>Spaceflight experiments/Analysis</a:t>
              </a:r>
            </a:p>
            <a:p>
              <a:pPr marL="171450" indent="-171450">
                <a:buFont typeface="Arial"/>
                <a:buChar char="•"/>
                <a:defRPr/>
              </a:pPr>
              <a:r>
                <a:rPr lang="en-US" sz="1100" dirty="0" smtClean="0">
                  <a:solidFill>
                    <a:srgbClr val="000000"/>
                  </a:solidFill>
                  <a:latin typeface="Calibri"/>
                </a:rPr>
                <a:t>Full </a:t>
              </a:r>
              <a:r>
                <a:rPr lang="en-US" sz="1100" dirty="0">
                  <a:solidFill>
                    <a:srgbClr val="000000"/>
                  </a:solidFill>
                  <a:latin typeface="Calibri"/>
                </a:rPr>
                <a:t>science community engagement</a:t>
              </a:r>
            </a:p>
            <a:p>
              <a:pPr marL="171450" indent="-171450">
                <a:buFont typeface="Arial"/>
                <a:buChar char="•"/>
                <a:defRPr/>
              </a:pPr>
              <a:r>
                <a:rPr lang="en-US" sz="1100" dirty="0" smtClean="0">
                  <a:solidFill>
                    <a:srgbClr val="000000"/>
                  </a:solidFill>
                  <a:latin typeface="Calibri"/>
                </a:rPr>
                <a:t>Analysis and modeling</a:t>
              </a:r>
              <a:endParaRPr lang="en-US" sz="1100" dirty="0">
                <a:solidFill>
                  <a:srgbClr val="000000"/>
                </a:solidFill>
                <a:latin typeface="Calibri"/>
              </a:endParaRPr>
            </a:p>
            <a:p>
              <a:pPr marL="171450" indent="-171450">
                <a:buFont typeface="Arial"/>
                <a:buChar char="•"/>
                <a:defRPr/>
              </a:pPr>
              <a:r>
                <a:rPr lang="en-US" sz="1100" dirty="0">
                  <a:solidFill>
                    <a:srgbClr val="000000"/>
                  </a:solidFill>
                  <a:latin typeface="Calibri"/>
                </a:rPr>
                <a:t>Ongoing dedicated flight </a:t>
              </a:r>
              <a:r>
                <a:rPr lang="en-US" sz="1100" dirty="0" smtClean="0">
                  <a:solidFill>
                    <a:srgbClr val="000000"/>
                  </a:solidFill>
                  <a:latin typeface="Calibri"/>
                </a:rPr>
                <a:t>experiments</a:t>
              </a:r>
              <a:endParaRPr lang="en-US" sz="1100" dirty="0">
                <a:solidFill>
                  <a:srgbClr val="000000"/>
                </a:solidFill>
                <a:latin typeface="Calibri"/>
              </a:endParaRPr>
            </a:p>
          </p:txBody>
        </p:sp>
      </p:grpSp>
      <p:sp>
        <p:nvSpPr>
          <p:cNvPr id="41" name="Date Placeholder 3"/>
          <p:cNvSpPr>
            <a:spLocks noGrp="1"/>
          </p:cNvSpPr>
          <p:nvPr>
            <p:ph type="dt" sz="half" idx="10"/>
          </p:nvPr>
        </p:nvSpPr>
        <p:spPr>
          <a:xfrm>
            <a:off x="487440" y="6433831"/>
            <a:ext cx="2133600" cy="365125"/>
          </a:xfrm>
          <a:prstGeom prst="rect">
            <a:avLst/>
          </a:prstGeom>
        </p:spPr>
        <p:txBody>
          <a:bodyPr anchor="ctr"/>
          <a:lstStyle>
            <a:lvl1pPr>
              <a:defRPr sz="1400" b="1">
                <a:latin typeface="Arial"/>
                <a:cs typeface="Arial"/>
              </a:defRPr>
            </a:lvl1pPr>
          </a:lstStyle>
          <a:p>
            <a:r>
              <a:rPr lang="en-US" smtClean="0">
                <a:solidFill>
                  <a:prstClr val="black"/>
                </a:solidFill>
              </a:rPr>
              <a:t>14 January 2016</a:t>
            </a:r>
            <a:endParaRPr lang="en-US" dirty="0">
              <a:solidFill>
                <a:prstClr val="black"/>
              </a:solidFill>
            </a:endParaRPr>
          </a:p>
        </p:txBody>
      </p:sp>
      <p:sp>
        <p:nvSpPr>
          <p:cNvPr id="42" name="Footer Placeholder 4"/>
          <p:cNvSpPr>
            <a:spLocks noGrp="1"/>
          </p:cNvSpPr>
          <p:nvPr>
            <p:ph type="ftr" sz="quarter" idx="11"/>
          </p:nvPr>
        </p:nvSpPr>
        <p:spPr>
          <a:xfrm>
            <a:off x="2811452" y="6433831"/>
            <a:ext cx="5024720" cy="365125"/>
          </a:xfrm>
        </p:spPr>
        <p:txBody>
          <a:bodyPr/>
          <a:lstStyle>
            <a:lvl1pPr>
              <a:defRPr sz="1400" b="1">
                <a:latin typeface="Arial"/>
                <a:cs typeface="Arial"/>
              </a:defRPr>
            </a:lvl1pPr>
          </a:lstStyle>
          <a:p>
            <a:pPr algn="l"/>
            <a:r>
              <a:rPr lang="en-US" dirty="0">
                <a:solidFill>
                  <a:schemeClr val="tx1"/>
                </a:solidFill>
              </a:rPr>
              <a:t>Collaborative Life Sciences Data </a:t>
            </a:r>
            <a:r>
              <a:rPr lang="en-US" dirty="0" smtClean="0">
                <a:solidFill>
                  <a:schemeClr val="tx1"/>
                </a:solidFill>
              </a:rPr>
              <a:t>TEM </a:t>
            </a:r>
            <a:r>
              <a:rPr lang="en-US" dirty="0" smtClean="0">
                <a:solidFill>
                  <a:srgbClr val="000000"/>
                </a:solidFill>
              </a:rPr>
              <a:t>| Michael Skidmore                      </a:t>
            </a:r>
            <a:endParaRPr lang="en-US" dirty="0">
              <a:solidFill>
                <a:srgbClr val="000000"/>
              </a:solidFill>
            </a:endParaRPr>
          </a:p>
        </p:txBody>
      </p:sp>
      <p:sp>
        <p:nvSpPr>
          <p:cNvPr id="43" name="Slide Number Placeholder 1"/>
          <p:cNvSpPr>
            <a:spLocks noGrp="1"/>
          </p:cNvSpPr>
          <p:nvPr>
            <p:ph type="sldNum" sz="quarter" idx="12"/>
          </p:nvPr>
        </p:nvSpPr>
        <p:spPr>
          <a:xfrm>
            <a:off x="7786154" y="6433831"/>
            <a:ext cx="1085865" cy="365125"/>
          </a:xfrm>
        </p:spPr>
        <p:txBody>
          <a:bodyPr/>
          <a:lstStyle/>
          <a:p>
            <a:fld id="{ACB3FC3A-BC2E-574C-8636-F1DF04588B6F}" type="slidenum">
              <a:rPr lang="en-US" sz="1400" b="1" smtClean="0">
                <a:solidFill>
                  <a:srgbClr val="000000"/>
                </a:solidFill>
                <a:latin typeface="Arial"/>
                <a:cs typeface="Arial"/>
              </a:rPr>
              <a:pPr/>
              <a:t>10</a:t>
            </a:fld>
            <a:endParaRPr lang="en-US" sz="1400" b="1" dirty="0">
              <a:solidFill>
                <a:srgbClr val="000000"/>
              </a:solidFill>
              <a:latin typeface="Arial"/>
              <a:cs typeface="Arial"/>
            </a:endParaRPr>
          </a:p>
        </p:txBody>
      </p:sp>
    </p:spTree>
    <p:extLst>
      <p:ext uri="{BB962C8B-B14F-4D97-AF65-F5344CB8AC3E}">
        <p14:creationId xmlns:p14="http://schemas.microsoft.com/office/powerpoint/2010/main" val="355325494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5239176" y="2092306"/>
            <a:ext cx="2123058" cy="731385"/>
          </a:xfrm>
          <a:prstGeom prst="line">
            <a:avLst/>
          </a:prstGeom>
        </p:spPr>
        <p:style>
          <a:lnRef idx="2">
            <a:schemeClr val="accent1"/>
          </a:lnRef>
          <a:fillRef idx="0">
            <a:schemeClr val="accent1"/>
          </a:fillRef>
          <a:effectRef idx="1">
            <a:schemeClr val="accent1"/>
          </a:effectRef>
          <a:fontRef idx="minor">
            <a:schemeClr val="tx1"/>
          </a:fontRef>
        </p:style>
      </p:cxnSp>
      <p:cxnSp>
        <p:nvCxnSpPr>
          <p:cNvPr id="4" name="Straight Connector 3"/>
          <p:cNvCxnSpPr>
            <a:stCxn id="50" idx="2"/>
            <a:endCxn id="55" idx="0"/>
          </p:cNvCxnSpPr>
          <p:nvPr/>
        </p:nvCxnSpPr>
        <p:spPr>
          <a:xfrm>
            <a:off x="4517457" y="1492820"/>
            <a:ext cx="19827" cy="1326476"/>
          </a:xfrm>
          <a:prstGeom prst="line">
            <a:avLst/>
          </a:prstGeom>
        </p:spPr>
        <p:style>
          <a:lnRef idx="2">
            <a:schemeClr val="accent1"/>
          </a:lnRef>
          <a:fillRef idx="0">
            <a:schemeClr val="accent1"/>
          </a:fillRef>
          <a:effectRef idx="1">
            <a:schemeClr val="accent1"/>
          </a:effectRef>
          <a:fontRef idx="minor">
            <a:schemeClr val="tx1"/>
          </a:fontRef>
        </p:style>
      </p:cxnSp>
      <p:sp>
        <p:nvSpPr>
          <p:cNvPr id="29702" name="TextBox 7"/>
          <p:cNvSpPr txBox="1">
            <a:spLocks noChangeArrowheads="1"/>
          </p:cNvSpPr>
          <p:nvPr/>
        </p:nvSpPr>
        <p:spPr bwMode="auto">
          <a:xfrm>
            <a:off x="3133671" y="60995"/>
            <a:ext cx="6131289"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2000" b="1">
                <a:solidFill>
                  <a:schemeClr val="tx1"/>
                </a:solidFill>
                <a:latin typeface="Calibri" panose="020F0502020204030204" pitchFamily="34" charset="0"/>
                <a:ea typeface="ヒラギノ角ゴ Pro W3"/>
                <a:cs typeface="Arial" panose="020B0604020202020204" pitchFamily="34" charset="0"/>
              </a:defRPr>
            </a:lvl1pPr>
            <a:lvl2pPr marL="742950" indent="-285750">
              <a:spcBef>
                <a:spcPct val="20000"/>
              </a:spcBef>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2pPr>
            <a:lvl3pPr marL="1143000" indent="-228600">
              <a:spcBef>
                <a:spcPct val="20000"/>
              </a:spcBef>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3pPr>
            <a:lvl4pPr marL="1600200" indent="-228600">
              <a:spcBef>
                <a:spcPct val="20000"/>
              </a:spcBef>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4pPr>
            <a:lvl5pPr marL="2057400" indent="-228600">
              <a:spcBef>
                <a:spcPct val="20000"/>
              </a:spcBef>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9pPr>
          </a:lstStyle>
          <a:p>
            <a:pPr algn="ctr">
              <a:spcBef>
                <a:spcPct val="0"/>
              </a:spcBef>
              <a:buFontTx/>
              <a:buNone/>
            </a:pPr>
            <a:r>
              <a:rPr lang="en-US" altLang="en-US" sz="2800" dirty="0">
                <a:solidFill>
                  <a:srgbClr val="000000"/>
                </a:solidFill>
              </a:rPr>
              <a:t>GeneLab </a:t>
            </a:r>
            <a:r>
              <a:rPr lang="en-US" altLang="en-US" sz="2800" dirty="0" smtClean="0">
                <a:solidFill>
                  <a:srgbClr val="000000"/>
                </a:solidFill>
              </a:rPr>
              <a:t>Organizational Contributions</a:t>
            </a:r>
            <a:endParaRPr lang="en-US" altLang="en-US" sz="2800" dirty="0">
              <a:solidFill>
                <a:srgbClr val="000000"/>
              </a:solidFill>
            </a:endParaRPr>
          </a:p>
        </p:txBody>
      </p:sp>
      <p:sp>
        <p:nvSpPr>
          <p:cNvPr id="14" name="TextBox 13"/>
          <p:cNvSpPr txBox="1"/>
          <p:nvPr/>
        </p:nvSpPr>
        <p:spPr>
          <a:xfrm>
            <a:off x="2011349" y="4095064"/>
            <a:ext cx="1848439" cy="923330"/>
          </a:xfrm>
          <a:prstGeom prst="rect">
            <a:avLst/>
          </a:prstGeom>
          <a:noFill/>
        </p:spPr>
        <p:txBody>
          <a:bodyPr wrap="square" rtlCol="0">
            <a:spAutoFit/>
          </a:bodyPr>
          <a:lstStyle/>
          <a:p>
            <a:pPr algn="ctr"/>
            <a:r>
              <a:rPr lang="en-US" dirty="0" smtClean="0">
                <a:solidFill>
                  <a:prstClr val="white"/>
                </a:solidFill>
                <a:latin typeface="Calibri"/>
              </a:rPr>
              <a:t>GL Data System Development</a:t>
            </a:r>
          </a:p>
          <a:p>
            <a:pPr algn="ctr"/>
            <a:r>
              <a:rPr lang="en-US" dirty="0" smtClean="0">
                <a:solidFill>
                  <a:prstClr val="white"/>
                </a:solidFill>
                <a:latin typeface="Calibri"/>
              </a:rPr>
              <a:t>(WBS 2 / 6)</a:t>
            </a:r>
            <a:endParaRPr lang="en-US" dirty="0">
              <a:solidFill>
                <a:prstClr val="white"/>
              </a:solidFill>
              <a:latin typeface="Calibri"/>
            </a:endParaRPr>
          </a:p>
        </p:txBody>
      </p:sp>
      <p:sp>
        <p:nvSpPr>
          <p:cNvPr id="44" name="Rectangle 43"/>
          <p:cNvSpPr/>
          <p:nvPr/>
        </p:nvSpPr>
        <p:spPr>
          <a:xfrm>
            <a:off x="3529980" y="1677010"/>
            <a:ext cx="1917700" cy="5969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45" name="TextBox 44"/>
          <p:cNvSpPr txBox="1"/>
          <p:nvPr/>
        </p:nvSpPr>
        <p:spPr>
          <a:xfrm>
            <a:off x="3263280" y="1753210"/>
            <a:ext cx="2501900" cy="430887"/>
          </a:xfrm>
          <a:prstGeom prst="rect">
            <a:avLst/>
          </a:prstGeom>
          <a:noFill/>
        </p:spPr>
        <p:txBody>
          <a:bodyPr wrap="square" rtlCol="0">
            <a:spAutoFit/>
          </a:bodyPr>
          <a:lstStyle/>
          <a:p>
            <a:pPr algn="ctr"/>
            <a:r>
              <a:rPr lang="en-US" sz="2200" b="1" dirty="0" smtClean="0">
                <a:solidFill>
                  <a:prstClr val="black"/>
                </a:solidFill>
                <a:latin typeface="Calibri"/>
              </a:rPr>
              <a:t>GeneLab</a:t>
            </a:r>
            <a:endParaRPr lang="en-US" sz="2200" b="1" dirty="0">
              <a:solidFill>
                <a:prstClr val="black"/>
              </a:solidFill>
              <a:latin typeface="Calibri"/>
            </a:endParaRPr>
          </a:p>
        </p:txBody>
      </p:sp>
      <p:sp>
        <p:nvSpPr>
          <p:cNvPr id="46" name="Rectangle 45"/>
          <p:cNvSpPr/>
          <p:nvPr/>
        </p:nvSpPr>
        <p:spPr>
          <a:xfrm>
            <a:off x="1232632" y="1691012"/>
            <a:ext cx="1320800" cy="515174"/>
          </a:xfrm>
          <a:prstGeom prst="rect">
            <a:avLst/>
          </a:prstGeom>
          <a:solidFill>
            <a:schemeClr val="bg1">
              <a:lumMod val="65000"/>
            </a:schemeClr>
          </a:soli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2000" b="1" dirty="0" smtClean="0">
                <a:solidFill>
                  <a:prstClr val="white"/>
                </a:solidFill>
                <a:latin typeface="Calibri"/>
              </a:rPr>
              <a:t>     </a:t>
            </a:r>
            <a:r>
              <a:rPr lang="en-US" sz="2000" b="1" dirty="0" smtClean="0">
                <a:solidFill>
                  <a:srgbClr val="000000"/>
                </a:solidFill>
                <a:latin typeface="Calibri"/>
              </a:rPr>
              <a:t>CASIS</a:t>
            </a:r>
            <a:endParaRPr lang="en-US" sz="2000" b="1" dirty="0">
              <a:solidFill>
                <a:srgbClr val="000000"/>
              </a:solidFill>
              <a:latin typeface="Calibri"/>
            </a:endParaRPr>
          </a:p>
        </p:txBody>
      </p:sp>
      <p:sp>
        <p:nvSpPr>
          <p:cNvPr id="47" name="Rectangle 46"/>
          <p:cNvSpPr/>
          <p:nvPr/>
        </p:nvSpPr>
        <p:spPr>
          <a:xfrm>
            <a:off x="6412878" y="1677010"/>
            <a:ext cx="1738573" cy="582146"/>
          </a:xfrm>
          <a:prstGeom prst="rect">
            <a:avLst/>
          </a:prstGeom>
          <a:solidFill>
            <a:srgbClr val="A6A6A6"/>
          </a:soli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prstClr val="black"/>
                </a:solidFill>
                <a:latin typeface="Calibri"/>
              </a:rPr>
              <a:t>International Partners </a:t>
            </a:r>
            <a:endParaRPr lang="en-US" b="1" dirty="0">
              <a:solidFill>
                <a:prstClr val="black"/>
              </a:solidFill>
              <a:latin typeface="Calibri"/>
            </a:endParaRPr>
          </a:p>
        </p:txBody>
      </p:sp>
      <p:sp>
        <p:nvSpPr>
          <p:cNvPr id="50" name="TextBox 49"/>
          <p:cNvSpPr txBox="1"/>
          <p:nvPr/>
        </p:nvSpPr>
        <p:spPr>
          <a:xfrm>
            <a:off x="3289195" y="1061933"/>
            <a:ext cx="2456523" cy="430887"/>
          </a:xfrm>
          <a:prstGeom prst="rect">
            <a:avLst/>
          </a:prstGeom>
          <a:solidFill>
            <a:schemeClr val="accent1">
              <a:lumMod val="20000"/>
              <a:lumOff val="80000"/>
            </a:schemeClr>
          </a:solidFill>
          <a:ln>
            <a:solidFill>
              <a:srgbClr val="0070C0"/>
            </a:solidFill>
          </a:ln>
        </p:spPr>
        <p:txBody>
          <a:bodyPr wrap="square" rtlCol="0">
            <a:spAutoFit/>
          </a:bodyPr>
          <a:lstStyle/>
          <a:p>
            <a:pPr algn="ctr"/>
            <a:r>
              <a:rPr lang="en-US" sz="2200" b="1" dirty="0" smtClean="0">
                <a:solidFill>
                  <a:prstClr val="black"/>
                </a:solidFill>
                <a:latin typeface="Calibri"/>
              </a:rPr>
              <a:t>SLPSRAD / ISSRIO</a:t>
            </a:r>
            <a:endParaRPr lang="en-US" sz="2200" b="1" dirty="0">
              <a:solidFill>
                <a:prstClr val="black"/>
              </a:solidFill>
              <a:latin typeface="Calibri"/>
            </a:endParaRPr>
          </a:p>
        </p:txBody>
      </p:sp>
      <p:sp>
        <p:nvSpPr>
          <p:cNvPr id="53" name="Rectangle 52"/>
          <p:cNvSpPr/>
          <p:nvPr/>
        </p:nvSpPr>
        <p:spPr>
          <a:xfrm>
            <a:off x="646130" y="2431510"/>
            <a:ext cx="5236342" cy="3637598"/>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0000"/>
              </a:solidFill>
              <a:latin typeface="Calibri"/>
            </a:endParaRPr>
          </a:p>
        </p:txBody>
      </p:sp>
      <p:sp>
        <p:nvSpPr>
          <p:cNvPr id="54" name="TextBox 53"/>
          <p:cNvSpPr txBox="1"/>
          <p:nvPr/>
        </p:nvSpPr>
        <p:spPr>
          <a:xfrm>
            <a:off x="3668480" y="2819297"/>
            <a:ext cx="1955800" cy="2339102"/>
          </a:xfrm>
          <a:prstGeom prst="rect">
            <a:avLst/>
          </a:prstGeom>
          <a:noFill/>
        </p:spPr>
        <p:txBody>
          <a:bodyPr wrap="square" rtlCol="0">
            <a:spAutoFit/>
          </a:bodyPr>
          <a:lstStyle/>
          <a:p>
            <a:pPr algn="ctr"/>
            <a:r>
              <a:rPr lang="en-US" b="1" dirty="0" smtClean="0">
                <a:solidFill>
                  <a:prstClr val="black"/>
                </a:solidFill>
                <a:latin typeface="Calibri"/>
              </a:rPr>
              <a:t>Space Biology</a:t>
            </a:r>
          </a:p>
          <a:p>
            <a:pPr marL="285750" indent="-285750">
              <a:buFont typeface="Arial"/>
              <a:buChar char="•"/>
            </a:pPr>
            <a:r>
              <a:rPr lang="en-US" sz="1600" dirty="0" smtClean="0">
                <a:solidFill>
                  <a:prstClr val="black"/>
                </a:solidFill>
                <a:latin typeface="Calibri"/>
              </a:rPr>
              <a:t>Project Management</a:t>
            </a:r>
          </a:p>
          <a:p>
            <a:pPr marL="285750" indent="-285750">
              <a:buFont typeface="Arial"/>
              <a:buChar char="•"/>
            </a:pPr>
            <a:r>
              <a:rPr lang="en-US" sz="1600" dirty="0" smtClean="0">
                <a:solidFill>
                  <a:prstClr val="black"/>
                </a:solidFill>
                <a:latin typeface="Calibri"/>
              </a:rPr>
              <a:t>Project Science/Outreach</a:t>
            </a:r>
          </a:p>
          <a:p>
            <a:pPr marL="285750" indent="-285750">
              <a:buFont typeface="Arial"/>
              <a:buChar char="•"/>
            </a:pPr>
            <a:r>
              <a:rPr lang="en-US" sz="1600" dirty="0">
                <a:solidFill>
                  <a:prstClr val="black"/>
                </a:solidFill>
                <a:latin typeface="Calibri"/>
              </a:rPr>
              <a:t>Sample </a:t>
            </a:r>
            <a:r>
              <a:rPr lang="en-US" sz="1600" dirty="0" smtClean="0">
                <a:solidFill>
                  <a:prstClr val="black"/>
                </a:solidFill>
                <a:latin typeface="Calibri"/>
              </a:rPr>
              <a:t>Processing</a:t>
            </a:r>
          </a:p>
          <a:p>
            <a:pPr marL="285750" indent="-285750">
              <a:buFont typeface="Arial"/>
              <a:buChar char="•"/>
            </a:pPr>
            <a:r>
              <a:rPr lang="en-US" sz="1600" dirty="0" smtClean="0">
                <a:solidFill>
                  <a:prstClr val="black"/>
                </a:solidFill>
                <a:latin typeface="Calibri"/>
              </a:rPr>
              <a:t>Science Definition Teams/NRAs</a:t>
            </a:r>
            <a:endParaRPr lang="en-US" sz="1600" dirty="0">
              <a:solidFill>
                <a:prstClr val="black"/>
              </a:solidFill>
              <a:latin typeface="Calibri"/>
            </a:endParaRPr>
          </a:p>
        </p:txBody>
      </p:sp>
      <p:sp>
        <p:nvSpPr>
          <p:cNvPr id="55" name="Rectangle 54"/>
          <p:cNvSpPr/>
          <p:nvPr/>
        </p:nvSpPr>
        <p:spPr>
          <a:xfrm>
            <a:off x="3399487" y="2819296"/>
            <a:ext cx="2275593" cy="2700233"/>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smtClean="0">
                <a:solidFill>
                  <a:srgbClr val="000000"/>
                </a:solidFill>
                <a:latin typeface="Calibri"/>
              </a:rPr>
              <a:t>Space Biology</a:t>
            </a:r>
          </a:p>
          <a:p>
            <a:pPr marL="285750" indent="-285750">
              <a:buFont typeface="Arial"/>
              <a:buChar char="•"/>
            </a:pPr>
            <a:r>
              <a:rPr lang="en-US" dirty="0" smtClean="0">
                <a:solidFill>
                  <a:srgbClr val="000000"/>
                </a:solidFill>
                <a:latin typeface="Calibri"/>
              </a:rPr>
              <a:t>Project Management</a:t>
            </a:r>
          </a:p>
          <a:p>
            <a:pPr marL="285750" indent="-285750">
              <a:buFont typeface="Arial"/>
              <a:buChar char="•"/>
            </a:pPr>
            <a:r>
              <a:rPr lang="en-US" dirty="0" smtClean="0">
                <a:solidFill>
                  <a:srgbClr val="000000"/>
                </a:solidFill>
                <a:latin typeface="Calibri"/>
              </a:rPr>
              <a:t>Project Science &amp; Outreach</a:t>
            </a:r>
          </a:p>
          <a:p>
            <a:pPr marL="285750" indent="-285750">
              <a:buFont typeface="Arial"/>
              <a:buChar char="•"/>
            </a:pPr>
            <a:r>
              <a:rPr lang="en-US" dirty="0" smtClean="0">
                <a:solidFill>
                  <a:srgbClr val="000000"/>
                </a:solidFill>
                <a:latin typeface="Calibri"/>
              </a:rPr>
              <a:t>Sample Processing</a:t>
            </a:r>
          </a:p>
          <a:p>
            <a:pPr marL="285750" indent="-285750">
              <a:buFont typeface="Arial"/>
              <a:buChar char="•"/>
            </a:pPr>
            <a:r>
              <a:rPr lang="en-US" dirty="0" smtClean="0">
                <a:solidFill>
                  <a:srgbClr val="000000"/>
                </a:solidFill>
                <a:latin typeface="Calibri"/>
              </a:rPr>
              <a:t>Science Definition Teams</a:t>
            </a:r>
          </a:p>
          <a:p>
            <a:pPr marL="285750" indent="-285750">
              <a:buFont typeface="Arial"/>
              <a:buChar char="•"/>
            </a:pPr>
            <a:r>
              <a:rPr lang="en-US" dirty="0" smtClean="0">
                <a:solidFill>
                  <a:srgbClr val="000000"/>
                </a:solidFill>
                <a:latin typeface="Calibri"/>
              </a:rPr>
              <a:t>NRAs</a:t>
            </a:r>
            <a:endParaRPr lang="en-US" dirty="0">
              <a:solidFill>
                <a:srgbClr val="000000"/>
              </a:solidFill>
              <a:latin typeface="Calibri"/>
            </a:endParaRPr>
          </a:p>
        </p:txBody>
      </p:sp>
      <p:sp>
        <p:nvSpPr>
          <p:cNvPr id="57" name="Rectangle 56"/>
          <p:cNvSpPr/>
          <p:nvPr/>
        </p:nvSpPr>
        <p:spPr>
          <a:xfrm>
            <a:off x="819190" y="2823691"/>
            <a:ext cx="2384318" cy="2703568"/>
          </a:xfrm>
          <a:prstGeom prst="rect">
            <a:avLst/>
          </a:prstGeom>
          <a:solidFill>
            <a:srgbClr val="C0504D"/>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smtClean="0">
                <a:solidFill>
                  <a:srgbClr val="000000"/>
                </a:solidFill>
                <a:latin typeface="Calibri"/>
              </a:rPr>
              <a:t>ISS</a:t>
            </a:r>
          </a:p>
          <a:p>
            <a:pPr marL="285750" indent="-285750">
              <a:buFont typeface="Arial"/>
              <a:buChar char="•"/>
            </a:pPr>
            <a:r>
              <a:rPr lang="en-US" dirty="0" smtClean="0">
                <a:solidFill>
                  <a:srgbClr val="000000"/>
                </a:solidFill>
                <a:latin typeface="Calibri"/>
              </a:rPr>
              <a:t>Data Systems Dev. &amp; Ops</a:t>
            </a:r>
          </a:p>
          <a:p>
            <a:pPr marL="285750" indent="-285750">
              <a:buFont typeface="Arial"/>
              <a:buChar char="•"/>
            </a:pPr>
            <a:r>
              <a:rPr lang="en-US" dirty="0" smtClean="0">
                <a:solidFill>
                  <a:srgbClr val="000000"/>
                </a:solidFill>
                <a:latin typeface="Calibri"/>
              </a:rPr>
              <a:t>Systems Engineering</a:t>
            </a:r>
          </a:p>
          <a:p>
            <a:pPr marL="285750" indent="-285750">
              <a:buFont typeface="Arial"/>
              <a:buChar char="•"/>
            </a:pPr>
            <a:r>
              <a:rPr lang="en-US" dirty="0" smtClean="0">
                <a:solidFill>
                  <a:srgbClr val="000000"/>
                </a:solidFill>
                <a:latin typeface="Calibri"/>
              </a:rPr>
              <a:t>Data Curation</a:t>
            </a:r>
          </a:p>
          <a:p>
            <a:pPr marL="285750" indent="-285750">
              <a:buFont typeface="Arial"/>
              <a:buChar char="•"/>
            </a:pPr>
            <a:r>
              <a:rPr lang="en-US" dirty="0" smtClean="0">
                <a:solidFill>
                  <a:srgbClr val="000000"/>
                </a:solidFill>
                <a:latin typeface="Calibri"/>
              </a:rPr>
              <a:t>Omics Analyses</a:t>
            </a:r>
          </a:p>
          <a:p>
            <a:pPr marL="285750" indent="-285750">
              <a:buFont typeface="Arial"/>
              <a:buChar char="•"/>
            </a:pPr>
            <a:r>
              <a:rPr lang="en-US" dirty="0" smtClean="0">
                <a:solidFill>
                  <a:srgbClr val="000000"/>
                </a:solidFill>
                <a:latin typeface="Calibri"/>
              </a:rPr>
              <a:t>Payload Interface</a:t>
            </a:r>
          </a:p>
          <a:p>
            <a:pPr marL="285750" indent="-285750">
              <a:buFont typeface="Arial"/>
              <a:buChar char="•"/>
            </a:pPr>
            <a:endParaRPr lang="en-US" dirty="0">
              <a:solidFill>
                <a:srgbClr val="000000"/>
              </a:solidFill>
              <a:latin typeface="Calibri"/>
            </a:endParaRPr>
          </a:p>
          <a:p>
            <a:pPr marL="285750" indent="-285750">
              <a:buFont typeface="Arial"/>
              <a:buChar char="•"/>
            </a:pPr>
            <a:endParaRPr lang="en-US" dirty="0">
              <a:solidFill>
                <a:srgbClr val="000000"/>
              </a:solidFill>
              <a:latin typeface="Calibri"/>
            </a:endParaRPr>
          </a:p>
        </p:txBody>
      </p:sp>
      <p:sp>
        <p:nvSpPr>
          <p:cNvPr id="61" name="TextBox 60"/>
          <p:cNvSpPr txBox="1"/>
          <p:nvPr/>
        </p:nvSpPr>
        <p:spPr>
          <a:xfrm>
            <a:off x="1555861" y="5519954"/>
            <a:ext cx="3450484" cy="461665"/>
          </a:xfrm>
          <a:prstGeom prst="rect">
            <a:avLst/>
          </a:prstGeom>
          <a:noFill/>
        </p:spPr>
        <p:txBody>
          <a:bodyPr wrap="square" rtlCol="0">
            <a:spAutoFit/>
          </a:bodyPr>
          <a:lstStyle/>
          <a:p>
            <a:pPr algn="ctr"/>
            <a:r>
              <a:rPr lang="en-US" sz="2400" dirty="0" smtClean="0">
                <a:solidFill>
                  <a:prstClr val="white"/>
                </a:solidFill>
                <a:latin typeface="Calibri"/>
              </a:rPr>
              <a:t>Joint Funding</a:t>
            </a:r>
            <a:endParaRPr lang="en-US" sz="2400" dirty="0">
              <a:solidFill>
                <a:prstClr val="white"/>
              </a:solidFill>
              <a:latin typeface="Calibri"/>
            </a:endParaRPr>
          </a:p>
        </p:txBody>
      </p:sp>
      <p:sp>
        <p:nvSpPr>
          <p:cNvPr id="62" name="Rectangle 61"/>
          <p:cNvSpPr/>
          <p:nvPr/>
        </p:nvSpPr>
        <p:spPr>
          <a:xfrm>
            <a:off x="6201422" y="2787620"/>
            <a:ext cx="2200887" cy="2229304"/>
          </a:xfrm>
          <a:prstGeom prst="rect">
            <a:avLst/>
          </a:prstGeom>
          <a:solidFill>
            <a:srgbClr val="CCFFCC"/>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63" name="TextBox 62"/>
          <p:cNvSpPr txBox="1"/>
          <p:nvPr/>
        </p:nvSpPr>
        <p:spPr>
          <a:xfrm>
            <a:off x="6246558" y="2740796"/>
            <a:ext cx="2231351" cy="2123658"/>
          </a:xfrm>
          <a:prstGeom prst="rect">
            <a:avLst/>
          </a:prstGeom>
          <a:noFill/>
        </p:spPr>
        <p:txBody>
          <a:bodyPr wrap="square" rtlCol="0">
            <a:spAutoFit/>
          </a:bodyPr>
          <a:lstStyle/>
          <a:p>
            <a:pPr algn="ctr"/>
            <a:r>
              <a:rPr lang="en-US" sz="2400" b="1" dirty="0" smtClean="0">
                <a:solidFill>
                  <a:prstClr val="black"/>
                </a:solidFill>
                <a:latin typeface="Calibri"/>
              </a:rPr>
              <a:t>HRP</a:t>
            </a:r>
          </a:p>
          <a:p>
            <a:pPr marL="285750" indent="-285750">
              <a:buFont typeface="Arial"/>
              <a:buChar char="•"/>
            </a:pPr>
            <a:r>
              <a:rPr lang="en-US" dirty="0" smtClean="0">
                <a:solidFill>
                  <a:prstClr val="black"/>
                </a:solidFill>
                <a:latin typeface="Calibri"/>
              </a:rPr>
              <a:t>Data generator </a:t>
            </a:r>
          </a:p>
          <a:p>
            <a:pPr marL="285750" indent="-285750">
              <a:buFont typeface="Arial"/>
              <a:buChar char="•"/>
            </a:pPr>
            <a:r>
              <a:rPr lang="en-US" dirty="0" smtClean="0">
                <a:solidFill>
                  <a:prstClr val="black"/>
                </a:solidFill>
                <a:latin typeface="Calibri"/>
              </a:rPr>
              <a:t>Informatics System User</a:t>
            </a:r>
          </a:p>
          <a:p>
            <a:pPr marL="285750" indent="-285750">
              <a:buFont typeface="Arial"/>
              <a:buChar char="•"/>
            </a:pPr>
            <a:r>
              <a:rPr lang="en-US" dirty="0">
                <a:solidFill>
                  <a:prstClr val="black"/>
                </a:solidFill>
                <a:latin typeface="Calibri"/>
              </a:rPr>
              <a:t>Twins/Omics Study – human data </a:t>
            </a:r>
            <a:r>
              <a:rPr lang="en-US" dirty="0" smtClean="0">
                <a:solidFill>
                  <a:prstClr val="black"/>
                </a:solidFill>
                <a:latin typeface="Calibri"/>
              </a:rPr>
              <a:t>pathfinder</a:t>
            </a:r>
            <a:endParaRPr lang="en-US" dirty="0">
              <a:solidFill>
                <a:prstClr val="black"/>
              </a:solidFill>
              <a:latin typeface="Calibri"/>
            </a:endParaRPr>
          </a:p>
        </p:txBody>
      </p:sp>
      <p:cxnSp>
        <p:nvCxnSpPr>
          <p:cNvPr id="17" name="Straight Connector 16"/>
          <p:cNvCxnSpPr>
            <a:stCxn id="44" idx="2"/>
          </p:cNvCxnSpPr>
          <p:nvPr/>
        </p:nvCxnSpPr>
        <p:spPr>
          <a:xfrm flipH="1">
            <a:off x="2363136" y="2273910"/>
            <a:ext cx="2125694" cy="545387"/>
          </a:xfrm>
          <a:prstGeom prst="line">
            <a:avLst/>
          </a:prstGeom>
        </p:spPr>
        <p:style>
          <a:lnRef idx="2">
            <a:schemeClr val="accent1"/>
          </a:lnRef>
          <a:fillRef idx="0">
            <a:schemeClr val="accent1"/>
          </a:fillRef>
          <a:effectRef idx="1">
            <a:schemeClr val="accent1"/>
          </a:effectRef>
          <a:fontRef idx="minor">
            <a:schemeClr val="tx1"/>
          </a:fontRef>
        </p:style>
      </p:cxnSp>
      <p:cxnSp>
        <p:nvCxnSpPr>
          <p:cNvPr id="40" name="Straight Connector 39"/>
          <p:cNvCxnSpPr>
            <a:endCxn id="47" idx="1"/>
          </p:cNvCxnSpPr>
          <p:nvPr/>
        </p:nvCxnSpPr>
        <p:spPr>
          <a:xfrm flipV="1">
            <a:off x="5523880" y="1968083"/>
            <a:ext cx="888998" cy="7377"/>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46" idx="3"/>
          </p:cNvCxnSpPr>
          <p:nvPr/>
        </p:nvCxnSpPr>
        <p:spPr>
          <a:xfrm>
            <a:off x="2553432" y="1948599"/>
            <a:ext cx="952500" cy="0"/>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4519070" y="2273244"/>
            <a:ext cx="0" cy="567760"/>
          </a:xfrm>
          <a:prstGeom prst="line">
            <a:avLst/>
          </a:prstGeom>
        </p:spPr>
        <p:style>
          <a:lnRef idx="2">
            <a:schemeClr val="accent1"/>
          </a:lnRef>
          <a:fillRef idx="0">
            <a:schemeClr val="accent1"/>
          </a:fillRef>
          <a:effectRef idx="1">
            <a:schemeClr val="accent1"/>
          </a:effectRef>
          <a:fontRef idx="minor">
            <a:schemeClr val="tx1"/>
          </a:fontRef>
        </p:style>
      </p:cxnSp>
      <p:pic>
        <p:nvPicPr>
          <p:cNvPr id="32" name="Picture 31"/>
          <p:cNvPicPr>
            <a:picLocks noChangeAspect="1"/>
          </p:cNvPicPr>
          <p:nvPr/>
        </p:nvPicPr>
        <p:blipFill>
          <a:blip r:embed="rId3"/>
          <a:stretch>
            <a:fillRect/>
          </a:stretch>
        </p:blipFill>
        <p:spPr>
          <a:xfrm>
            <a:off x="12473" y="30236"/>
            <a:ext cx="3327116" cy="608828"/>
          </a:xfrm>
          <a:prstGeom prst="rect">
            <a:avLst/>
          </a:prstGeom>
        </p:spPr>
      </p:pic>
      <p:sp>
        <p:nvSpPr>
          <p:cNvPr id="26" name="Date Placeholder 3"/>
          <p:cNvSpPr>
            <a:spLocks noGrp="1"/>
          </p:cNvSpPr>
          <p:nvPr>
            <p:ph type="dt" sz="half" idx="10"/>
          </p:nvPr>
        </p:nvSpPr>
        <p:spPr>
          <a:xfrm>
            <a:off x="487440" y="6433831"/>
            <a:ext cx="2133600" cy="365125"/>
          </a:xfrm>
          <a:prstGeom prst="rect">
            <a:avLst/>
          </a:prstGeom>
        </p:spPr>
        <p:txBody>
          <a:bodyPr anchor="ctr"/>
          <a:lstStyle>
            <a:lvl1pPr>
              <a:defRPr sz="1400" b="1">
                <a:latin typeface="Arial"/>
                <a:cs typeface="Arial"/>
              </a:defRPr>
            </a:lvl1pPr>
          </a:lstStyle>
          <a:p>
            <a:r>
              <a:rPr lang="en-US" smtClean="0">
                <a:solidFill>
                  <a:prstClr val="black"/>
                </a:solidFill>
              </a:rPr>
              <a:t>14 January 2016</a:t>
            </a:r>
            <a:endParaRPr lang="en-US" dirty="0">
              <a:solidFill>
                <a:prstClr val="black"/>
              </a:solidFill>
            </a:endParaRPr>
          </a:p>
        </p:txBody>
      </p:sp>
      <p:sp>
        <p:nvSpPr>
          <p:cNvPr id="27" name="Footer Placeholder 4"/>
          <p:cNvSpPr>
            <a:spLocks noGrp="1"/>
          </p:cNvSpPr>
          <p:nvPr>
            <p:ph type="ftr" sz="quarter" idx="11"/>
          </p:nvPr>
        </p:nvSpPr>
        <p:spPr>
          <a:xfrm>
            <a:off x="2811452" y="6433831"/>
            <a:ext cx="5024720" cy="365125"/>
          </a:xfrm>
        </p:spPr>
        <p:txBody>
          <a:bodyPr/>
          <a:lstStyle>
            <a:lvl1pPr>
              <a:defRPr sz="1400" b="1">
                <a:latin typeface="Arial"/>
                <a:cs typeface="Arial"/>
              </a:defRPr>
            </a:lvl1pPr>
          </a:lstStyle>
          <a:p>
            <a:pPr algn="l"/>
            <a:r>
              <a:rPr lang="en-US" dirty="0">
                <a:solidFill>
                  <a:schemeClr val="tx1"/>
                </a:solidFill>
              </a:rPr>
              <a:t>Collaborative Life Sciences Data </a:t>
            </a:r>
            <a:r>
              <a:rPr lang="en-US" dirty="0" smtClean="0">
                <a:solidFill>
                  <a:schemeClr val="tx1"/>
                </a:solidFill>
              </a:rPr>
              <a:t>TEM </a:t>
            </a:r>
            <a:r>
              <a:rPr lang="en-US" dirty="0" smtClean="0">
                <a:solidFill>
                  <a:srgbClr val="000000"/>
                </a:solidFill>
              </a:rPr>
              <a:t>| Michael Skidmore                      </a:t>
            </a:r>
            <a:endParaRPr lang="en-US" dirty="0">
              <a:solidFill>
                <a:srgbClr val="000000"/>
              </a:solidFill>
            </a:endParaRPr>
          </a:p>
        </p:txBody>
      </p:sp>
      <p:sp>
        <p:nvSpPr>
          <p:cNvPr id="29" name="Slide Number Placeholder 1"/>
          <p:cNvSpPr>
            <a:spLocks noGrp="1"/>
          </p:cNvSpPr>
          <p:nvPr>
            <p:ph type="sldNum" sz="quarter" idx="12"/>
          </p:nvPr>
        </p:nvSpPr>
        <p:spPr>
          <a:xfrm>
            <a:off x="7786154" y="6435721"/>
            <a:ext cx="1085865" cy="365125"/>
          </a:xfrm>
        </p:spPr>
        <p:txBody>
          <a:bodyPr/>
          <a:lstStyle/>
          <a:p>
            <a:fld id="{ACB3FC3A-BC2E-574C-8636-F1DF04588B6F}" type="slidenum">
              <a:rPr lang="en-US" sz="1400" b="1" smtClean="0">
                <a:solidFill>
                  <a:srgbClr val="000000"/>
                </a:solidFill>
                <a:latin typeface="Arial"/>
                <a:cs typeface="Arial"/>
              </a:rPr>
              <a:pPr/>
              <a:t>11</a:t>
            </a:fld>
            <a:endParaRPr lang="en-US" sz="1400" b="1" dirty="0">
              <a:solidFill>
                <a:srgbClr val="000000"/>
              </a:solidFill>
              <a:latin typeface="Arial"/>
              <a:cs typeface="Arial"/>
            </a:endParaRPr>
          </a:p>
        </p:txBody>
      </p:sp>
    </p:spTree>
    <p:extLst>
      <p:ext uri="{BB962C8B-B14F-4D97-AF65-F5344CB8AC3E}">
        <p14:creationId xmlns:p14="http://schemas.microsoft.com/office/powerpoint/2010/main" val="263074188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200620" y="953007"/>
            <a:ext cx="8943380" cy="954107"/>
          </a:xfrm>
          <a:prstGeom prst="rect">
            <a:avLst/>
          </a:prstGeom>
          <a:noFill/>
        </p:spPr>
        <p:txBody>
          <a:bodyPr wrap="square" rtlCol="0">
            <a:spAutoFit/>
          </a:bodyPr>
          <a:lstStyle/>
          <a:p>
            <a:pPr algn="ctr"/>
            <a:r>
              <a:rPr lang="en-US" sz="3200" b="1" dirty="0" smtClean="0">
                <a:solidFill>
                  <a:srgbClr val="000000"/>
                </a:solidFill>
                <a:latin typeface="Calibri"/>
              </a:rPr>
              <a:t>RFI on NASA SLPS GeneLab ISS Reference Mission</a:t>
            </a:r>
          </a:p>
          <a:p>
            <a:pPr algn="ctr"/>
            <a:r>
              <a:rPr lang="en-US" sz="2400" b="1" dirty="0" smtClean="0">
                <a:solidFill>
                  <a:srgbClr val="000000"/>
                </a:solidFill>
                <a:latin typeface="Calibri"/>
              </a:rPr>
              <a:t>- released Nov 5, 2015 -</a:t>
            </a:r>
            <a:endParaRPr lang="en-US" sz="2400" b="1" dirty="0">
              <a:solidFill>
                <a:srgbClr val="000000"/>
              </a:solidFill>
              <a:latin typeface="Calibri"/>
            </a:endParaRPr>
          </a:p>
        </p:txBody>
      </p:sp>
      <p:pic>
        <p:nvPicPr>
          <p:cNvPr id="11" name="Picture 10"/>
          <p:cNvPicPr>
            <a:picLocks noChangeAspect="1"/>
          </p:cNvPicPr>
          <p:nvPr/>
        </p:nvPicPr>
        <p:blipFill>
          <a:blip r:embed="rId3"/>
          <a:stretch>
            <a:fillRect/>
          </a:stretch>
        </p:blipFill>
        <p:spPr>
          <a:xfrm>
            <a:off x="12472" y="0"/>
            <a:ext cx="3334494" cy="610178"/>
          </a:xfrm>
          <a:prstGeom prst="rect">
            <a:avLst/>
          </a:prstGeom>
        </p:spPr>
      </p:pic>
      <p:pic>
        <p:nvPicPr>
          <p:cNvPr id="2" name="Picture 1"/>
          <p:cNvPicPr>
            <a:picLocks noChangeAspect="1"/>
          </p:cNvPicPr>
          <p:nvPr/>
        </p:nvPicPr>
        <p:blipFill>
          <a:blip r:embed="rId4"/>
          <a:stretch>
            <a:fillRect/>
          </a:stretch>
        </p:blipFill>
        <p:spPr>
          <a:xfrm>
            <a:off x="12472" y="2211579"/>
            <a:ext cx="9144000" cy="2628000"/>
          </a:xfrm>
          <a:prstGeom prst="rect">
            <a:avLst/>
          </a:prstGeom>
        </p:spPr>
      </p:pic>
      <p:sp>
        <p:nvSpPr>
          <p:cNvPr id="12" name="Date Placeholder 3"/>
          <p:cNvSpPr>
            <a:spLocks noGrp="1"/>
          </p:cNvSpPr>
          <p:nvPr>
            <p:ph type="dt" sz="half" idx="10"/>
          </p:nvPr>
        </p:nvSpPr>
        <p:spPr>
          <a:xfrm>
            <a:off x="487440" y="6433831"/>
            <a:ext cx="2133600" cy="365125"/>
          </a:xfrm>
          <a:prstGeom prst="rect">
            <a:avLst/>
          </a:prstGeom>
        </p:spPr>
        <p:txBody>
          <a:bodyPr anchor="ctr"/>
          <a:lstStyle>
            <a:lvl1pPr>
              <a:defRPr sz="1400" b="1">
                <a:latin typeface="Arial"/>
                <a:cs typeface="Arial"/>
              </a:defRPr>
            </a:lvl1pPr>
          </a:lstStyle>
          <a:p>
            <a:r>
              <a:rPr lang="en-US" smtClean="0">
                <a:solidFill>
                  <a:prstClr val="black"/>
                </a:solidFill>
              </a:rPr>
              <a:t>14 January 2016</a:t>
            </a:r>
            <a:endParaRPr lang="en-US" dirty="0">
              <a:solidFill>
                <a:prstClr val="black"/>
              </a:solidFill>
            </a:endParaRPr>
          </a:p>
        </p:txBody>
      </p:sp>
      <p:sp>
        <p:nvSpPr>
          <p:cNvPr id="13" name="Footer Placeholder 4"/>
          <p:cNvSpPr>
            <a:spLocks noGrp="1"/>
          </p:cNvSpPr>
          <p:nvPr>
            <p:ph type="ftr" sz="quarter" idx="11"/>
          </p:nvPr>
        </p:nvSpPr>
        <p:spPr>
          <a:xfrm>
            <a:off x="2811452" y="6433831"/>
            <a:ext cx="5024720" cy="365125"/>
          </a:xfrm>
        </p:spPr>
        <p:txBody>
          <a:bodyPr/>
          <a:lstStyle>
            <a:lvl1pPr>
              <a:defRPr sz="1400" b="1">
                <a:latin typeface="Arial"/>
                <a:cs typeface="Arial"/>
              </a:defRPr>
            </a:lvl1pPr>
          </a:lstStyle>
          <a:p>
            <a:pPr algn="l"/>
            <a:r>
              <a:rPr lang="en-US" dirty="0">
                <a:solidFill>
                  <a:schemeClr val="tx1"/>
                </a:solidFill>
              </a:rPr>
              <a:t>Collaborative Life Sciences Data </a:t>
            </a:r>
            <a:r>
              <a:rPr lang="en-US" dirty="0" smtClean="0">
                <a:solidFill>
                  <a:schemeClr val="tx1"/>
                </a:solidFill>
              </a:rPr>
              <a:t>TEM </a:t>
            </a:r>
            <a:r>
              <a:rPr lang="en-US" dirty="0" smtClean="0">
                <a:solidFill>
                  <a:srgbClr val="000000"/>
                </a:solidFill>
              </a:rPr>
              <a:t>| Michael Skidmore                      </a:t>
            </a:r>
            <a:endParaRPr lang="en-US" dirty="0">
              <a:solidFill>
                <a:srgbClr val="000000"/>
              </a:solidFill>
            </a:endParaRPr>
          </a:p>
        </p:txBody>
      </p:sp>
      <p:sp>
        <p:nvSpPr>
          <p:cNvPr id="14" name="Slide Number Placeholder 1"/>
          <p:cNvSpPr>
            <a:spLocks noGrp="1"/>
          </p:cNvSpPr>
          <p:nvPr>
            <p:ph type="sldNum" sz="quarter" idx="12"/>
          </p:nvPr>
        </p:nvSpPr>
        <p:spPr>
          <a:xfrm>
            <a:off x="7786154" y="6433831"/>
            <a:ext cx="1085865" cy="365125"/>
          </a:xfrm>
        </p:spPr>
        <p:txBody>
          <a:bodyPr/>
          <a:lstStyle/>
          <a:p>
            <a:fld id="{ACB3FC3A-BC2E-574C-8636-F1DF04588B6F}" type="slidenum">
              <a:rPr lang="en-US" sz="1400" b="1" smtClean="0">
                <a:solidFill>
                  <a:srgbClr val="000000"/>
                </a:solidFill>
                <a:latin typeface="Arial"/>
                <a:cs typeface="Arial"/>
              </a:rPr>
              <a:pPr/>
              <a:t>12</a:t>
            </a:fld>
            <a:endParaRPr lang="en-US" sz="1400" b="1" dirty="0">
              <a:solidFill>
                <a:srgbClr val="000000"/>
              </a:solidFill>
              <a:latin typeface="Arial"/>
              <a:cs typeface="Arial"/>
            </a:endParaRPr>
          </a:p>
        </p:txBody>
      </p:sp>
    </p:spTree>
    <p:extLst>
      <p:ext uri="{BB962C8B-B14F-4D97-AF65-F5344CB8AC3E}">
        <p14:creationId xmlns:p14="http://schemas.microsoft.com/office/powerpoint/2010/main" val="236498773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524000" y="209749"/>
            <a:ext cx="5943600" cy="523220"/>
          </a:xfrm>
          <a:prstGeom prst="rect">
            <a:avLst/>
          </a:prstGeom>
          <a:noFill/>
        </p:spPr>
        <p:txBody>
          <a:bodyPr wrap="square" rtlCol="0">
            <a:spAutoFit/>
          </a:bodyPr>
          <a:lstStyle/>
          <a:p>
            <a:pPr algn="ctr"/>
            <a:r>
              <a:rPr lang="en-US" sz="2800" b="1" dirty="0" smtClean="0">
                <a:solidFill>
                  <a:srgbClr val="FFFFFF"/>
                </a:solidFill>
                <a:latin typeface="Calibri"/>
              </a:rPr>
              <a:t>Data Systems Web Site (1 of 2)</a:t>
            </a:r>
            <a:endParaRPr lang="en-US" sz="2800" b="1" dirty="0">
              <a:solidFill>
                <a:srgbClr val="FFFFFF"/>
              </a:solidFill>
              <a:latin typeface="Calibri"/>
            </a:endParaRPr>
          </a:p>
        </p:txBody>
      </p:sp>
      <p:sp>
        <p:nvSpPr>
          <p:cNvPr id="4" name="TextBox 3"/>
          <p:cNvSpPr txBox="1"/>
          <p:nvPr/>
        </p:nvSpPr>
        <p:spPr>
          <a:xfrm>
            <a:off x="3611167" y="-10228"/>
            <a:ext cx="4852086" cy="830997"/>
          </a:xfrm>
          <a:prstGeom prst="rect">
            <a:avLst/>
          </a:prstGeom>
          <a:noFill/>
        </p:spPr>
        <p:txBody>
          <a:bodyPr wrap="square" rtlCol="0">
            <a:spAutoFit/>
          </a:bodyPr>
          <a:lstStyle/>
          <a:p>
            <a:r>
              <a:rPr lang="en-US" sz="3200" b="1" dirty="0" smtClean="0">
                <a:solidFill>
                  <a:prstClr val="black"/>
                </a:solidFill>
                <a:latin typeface="Calibri"/>
              </a:rPr>
              <a:t>Data </a:t>
            </a:r>
            <a:r>
              <a:rPr lang="en-US" sz="3200" b="1" dirty="0">
                <a:solidFill>
                  <a:prstClr val="black"/>
                </a:solidFill>
                <a:latin typeface="Calibri"/>
              </a:rPr>
              <a:t>Repository </a:t>
            </a:r>
            <a:r>
              <a:rPr lang="en-US" sz="3200" b="1" dirty="0" smtClean="0">
                <a:solidFill>
                  <a:prstClr val="black"/>
                </a:solidFill>
                <a:latin typeface="Calibri"/>
              </a:rPr>
              <a:t>Main Page</a:t>
            </a:r>
          </a:p>
          <a:p>
            <a:r>
              <a:rPr lang="en-US" sz="1600" b="1" dirty="0" smtClean="0">
                <a:solidFill>
                  <a:prstClr val="black"/>
                </a:solidFill>
                <a:latin typeface="Calibri"/>
                <a:hlinkClick r:id="rId3"/>
              </a:rPr>
              <a:t>https://genelab-data.ndc.nasa.gov/genelab/</a:t>
            </a:r>
            <a:endParaRPr lang="en-US" sz="1600" b="1" dirty="0">
              <a:solidFill>
                <a:prstClr val="black"/>
              </a:solidFill>
              <a:latin typeface="Calibri"/>
            </a:endParaRPr>
          </a:p>
        </p:txBody>
      </p:sp>
      <p:pic>
        <p:nvPicPr>
          <p:cNvPr id="7" name="Picture 6"/>
          <p:cNvPicPr>
            <a:picLocks noChangeAspect="1"/>
          </p:cNvPicPr>
          <p:nvPr/>
        </p:nvPicPr>
        <p:blipFill>
          <a:blip r:embed="rId4"/>
          <a:stretch>
            <a:fillRect/>
          </a:stretch>
        </p:blipFill>
        <p:spPr>
          <a:xfrm>
            <a:off x="12472" y="0"/>
            <a:ext cx="3523095" cy="644690"/>
          </a:xfrm>
          <a:prstGeom prst="rect">
            <a:avLst/>
          </a:prstGeom>
        </p:spPr>
      </p:pic>
      <p:pic>
        <p:nvPicPr>
          <p:cNvPr id="8" name="Picture 7" descr="https-::genelab-data.ndc.nasa.gov:genelab:.jpg"/>
          <p:cNvPicPr>
            <a:picLocks noChangeAspect="1"/>
          </p:cNvPicPr>
          <p:nvPr/>
        </p:nvPicPr>
        <p:blipFill rotWithShape="1">
          <a:blip r:embed="rId5">
            <a:extLst>
              <a:ext uri="{28A0092B-C50C-407E-A947-70E740481C1C}">
                <a14:useLocalDpi xmlns:a14="http://schemas.microsoft.com/office/drawing/2010/main" val="0"/>
              </a:ext>
            </a:extLst>
          </a:blip>
          <a:srcRect l="6410" r="6410"/>
          <a:stretch/>
        </p:blipFill>
        <p:spPr>
          <a:xfrm>
            <a:off x="249933" y="831943"/>
            <a:ext cx="8644134" cy="5963646"/>
          </a:xfrm>
          <a:prstGeom prst="rect">
            <a:avLst/>
          </a:prstGeom>
        </p:spPr>
      </p:pic>
      <p:sp>
        <p:nvSpPr>
          <p:cNvPr id="10" name="Date Placeholder 3"/>
          <p:cNvSpPr>
            <a:spLocks noGrp="1"/>
          </p:cNvSpPr>
          <p:nvPr>
            <p:ph type="dt" sz="half" idx="10"/>
          </p:nvPr>
        </p:nvSpPr>
        <p:spPr>
          <a:xfrm>
            <a:off x="487440" y="6433831"/>
            <a:ext cx="2133600" cy="365125"/>
          </a:xfrm>
          <a:prstGeom prst="rect">
            <a:avLst/>
          </a:prstGeom>
        </p:spPr>
        <p:txBody>
          <a:bodyPr anchor="ctr"/>
          <a:lstStyle>
            <a:lvl1pPr>
              <a:defRPr sz="1400" b="1">
                <a:latin typeface="Arial"/>
                <a:cs typeface="Arial"/>
              </a:defRPr>
            </a:lvl1pPr>
          </a:lstStyle>
          <a:p>
            <a:r>
              <a:rPr lang="en-US" smtClean="0">
                <a:solidFill>
                  <a:schemeClr val="bg1"/>
                </a:solidFill>
              </a:rPr>
              <a:t>14 January 2016</a:t>
            </a:r>
            <a:endParaRPr lang="en-US" dirty="0">
              <a:solidFill>
                <a:schemeClr val="bg1"/>
              </a:solidFill>
            </a:endParaRPr>
          </a:p>
        </p:txBody>
      </p:sp>
      <p:sp>
        <p:nvSpPr>
          <p:cNvPr id="11" name="Footer Placeholder 4"/>
          <p:cNvSpPr>
            <a:spLocks noGrp="1"/>
          </p:cNvSpPr>
          <p:nvPr>
            <p:ph type="ftr" sz="quarter" idx="11"/>
          </p:nvPr>
        </p:nvSpPr>
        <p:spPr>
          <a:xfrm>
            <a:off x="2811452" y="6433831"/>
            <a:ext cx="5024720" cy="365125"/>
          </a:xfrm>
        </p:spPr>
        <p:txBody>
          <a:bodyPr/>
          <a:lstStyle>
            <a:lvl1pPr>
              <a:defRPr sz="1400" b="1">
                <a:latin typeface="Arial"/>
                <a:cs typeface="Arial"/>
              </a:defRPr>
            </a:lvl1pPr>
          </a:lstStyle>
          <a:p>
            <a:pPr algn="l"/>
            <a:r>
              <a:rPr lang="en-US" dirty="0">
                <a:solidFill>
                  <a:schemeClr val="bg1"/>
                </a:solidFill>
              </a:rPr>
              <a:t>Collaborative Life Sciences Data </a:t>
            </a:r>
            <a:r>
              <a:rPr lang="en-US" dirty="0" smtClean="0">
                <a:solidFill>
                  <a:schemeClr val="bg1"/>
                </a:solidFill>
              </a:rPr>
              <a:t>TEM | Michael Skidmore                      </a:t>
            </a:r>
            <a:endParaRPr lang="en-US" dirty="0">
              <a:solidFill>
                <a:schemeClr val="bg1"/>
              </a:solidFill>
            </a:endParaRPr>
          </a:p>
        </p:txBody>
      </p:sp>
      <p:sp>
        <p:nvSpPr>
          <p:cNvPr id="12" name="Slide Number Placeholder 1"/>
          <p:cNvSpPr>
            <a:spLocks noGrp="1"/>
          </p:cNvSpPr>
          <p:nvPr>
            <p:ph type="sldNum" sz="quarter" idx="12"/>
          </p:nvPr>
        </p:nvSpPr>
        <p:spPr>
          <a:xfrm>
            <a:off x="7786154" y="6433831"/>
            <a:ext cx="1085865" cy="365125"/>
          </a:xfrm>
        </p:spPr>
        <p:txBody>
          <a:bodyPr/>
          <a:lstStyle/>
          <a:p>
            <a:fld id="{ACB3FC3A-BC2E-574C-8636-F1DF04588B6F}" type="slidenum">
              <a:rPr lang="en-US" sz="1400" b="1" smtClean="0">
                <a:solidFill>
                  <a:schemeClr val="bg1"/>
                </a:solidFill>
                <a:latin typeface="Arial"/>
                <a:cs typeface="Arial"/>
              </a:rPr>
              <a:pPr/>
              <a:t>13</a:t>
            </a:fld>
            <a:endParaRPr lang="en-US" sz="1400" b="1" dirty="0">
              <a:solidFill>
                <a:schemeClr val="bg1"/>
              </a:solidFill>
              <a:latin typeface="Arial"/>
              <a:cs typeface="Arial"/>
            </a:endParaRPr>
          </a:p>
        </p:txBody>
      </p:sp>
    </p:spTree>
    <p:extLst>
      <p:ext uri="{BB962C8B-B14F-4D97-AF65-F5344CB8AC3E}">
        <p14:creationId xmlns:p14="http://schemas.microsoft.com/office/powerpoint/2010/main" val="179359641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524000" y="209749"/>
            <a:ext cx="5943600" cy="523220"/>
          </a:xfrm>
          <a:prstGeom prst="rect">
            <a:avLst/>
          </a:prstGeom>
          <a:noFill/>
        </p:spPr>
        <p:txBody>
          <a:bodyPr wrap="square" rtlCol="0">
            <a:spAutoFit/>
          </a:bodyPr>
          <a:lstStyle/>
          <a:p>
            <a:pPr algn="ctr"/>
            <a:r>
              <a:rPr lang="en-US" sz="2800" b="1" dirty="0" smtClean="0">
                <a:solidFill>
                  <a:srgbClr val="FFFFFF"/>
                </a:solidFill>
                <a:latin typeface="Calibri"/>
              </a:rPr>
              <a:t>Data Systems Web Site (2 of 2)</a:t>
            </a:r>
            <a:endParaRPr lang="en-US" sz="2800" b="1" dirty="0">
              <a:solidFill>
                <a:srgbClr val="FFFFFF"/>
              </a:solidFill>
              <a:latin typeface="Calibri"/>
            </a:endParaRPr>
          </a:p>
        </p:txBody>
      </p:sp>
      <p:sp>
        <p:nvSpPr>
          <p:cNvPr id="7" name="TextBox 6"/>
          <p:cNvSpPr txBox="1"/>
          <p:nvPr/>
        </p:nvSpPr>
        <p:spPr>
          <a:xfrm>
            <a:off x="937460" y="130086"/>
            <a:ext cx="3447427" cy="584776"/>
          </a:xfrm>
          <a:prstGeom prst="rect">
            <a:avLst/>
          </a:prstGeom>
          <a:noFill/>
        </p:spPr>
        <p:txBody>
          <a:bodyPr wrap="square" rtlCol="0">
            <a:spAutoFit/>
          </a:bodyPr>
          <a:lstStyle/>
          <a:p>
            <a:r>
              <a:rPr lang="en-US" sz="3200" b="1" dirty="0" smtClean="0">
                <a:solidFill>
                  <a:prstClr val="black"/>
                </a:solidFill>
                <a:latin typeface="Calibri"/>
              </a:rPr>
              <a:t>Browsing example</a:t>
            </a:r>
            <a:endParaRPr lang="en-US" sz="3200" b="1" dirty="0">
              <a:solidFill>
                <a:prstClr val="black"/>
              </a:solidFill>
              <a:latin typeface="Calibri"/>
            </a:endParaRPr>
          </a:p>
        </p:txBody>
      </p:sp>
      <p:sp>
        <p:nvSpPr>
          <p:cNvPr id="10" name="TextBox 9"/>
          <p:cNvSpPr txBox="1"/>
          <p:nvPr/>
        </p:nvSpPr>
        <p:spPr>
          <a:xfrm>
            <a:off x="5461286" y="148193"/>
            <a:ext cx="3353697" cy="584776"/>
          </a:xfrm>
          <a:prstGeom prst="rect">
            <a:avLst/>
          </a:prstGeom>
          <a:noFill/>
        </p:spPr>
        <p:txBody>
          <a:bodyPr wrap="square" rtlCol="0">
            <a:spAutoFit/>
          </a:bodyPr>
          <a:lstStyle/>
          <a:p>
            <a:r>
              <a:rPr lang="en-US" sz="3200" b="1" dirty="0" smtClean="0">
                <a:solidFill>
                  <a:prstClr val="black"/>
                </a:solidFill>
                <a:latin typeface="Calibri"/>
              </a:rPr>
              <a:t>Metadata display</a:t>
            </a:r>
            <a:endParaRPr lang="en-US" sz="3200" b="1" dirty="0">
              <a:solidFill>
                <a:prstClr val="black"/>
              </a:solidFill>
              <a:latin typeface="Calibri"/>
            </a:endParaRPr>
          </a:p>
        </p:txBody>
      </p:sp>
      <p:pic>
        <p:nvPicPr>
          <p:cNvPr id="3" name="Picture 2"/>
          <p:cNvPicPr>
            <a:picLocks noChangeAspect="1"/>
          </p:cNvPicPr>
          <p:nvPr/>
        </p:nvPicPr>
        <p:blipFill>
          <a:blip r:embed="rId3"/>
          <a:stretch>
            <a:fillRect/>
          </a:stretch>
        </p:blipFill>
        <p:spPr>
          <a:xfrm>
            <a:off x="183633" y="1703681"/>
            <a:ext cx="4690301" cy="872975"/>
          </a:xfrm>
          <a:prstGeom prst="rect">
            <a:avLst/>
          </a:prstGeom>
        </p:spPr>
      </p:pic>
      <p:pic>
        <p:nvPicPr>
          <p:cNvPr id="4" name="Picture 3"/>
          <p:cNvPicPr>
            <a:picLocks noChangeAspect="1"/>
          </p:cNvPicPr>
          <p:nvPr/>
        </p:nvPicPr>
        <p:blipFill>
          <a:blip r:embed="rId4"/>
          <a:stretch>
            <a:fillRect/>
          </a:stretch>
        </p:blipFill>
        <p:spPr>
          <a:xfrm>
            <a:off x="213873" y="930587"/>
            <a:ext cx="4794477" cy="697568"/>
          </a:xfrm>
          <a:prstGeom prst="rect">
            <a:avLst/>
          </a:prstGeom>
        </p:spPr>
      </p:pic>
      <p:pic>
        <p:nvPicPr>
          <p:cNvPr id="5" name="Picture 4"/>
          <p:cNvPicPr>
            <a:picLocks noChangeAspect="1"/>
          </p:cNvPicPr>
          <p:nvPr/>
        </p:nvPicPr>
        <p:blipFill>
          <a:blip r:embed="rId5"/>
          <a:stretch>
            <a:fillRect/>
          </a:stretch>
        </p:blipFill>
        <p:spPr>
          <a:xfrm>
            <a:off x="183633" y="2565399"/>
            <a:ext cx="4690301" cy="844869"/>
          </a:xfrm>
          <a:prstGeom prst="rect">
            <a:avLst/>
          </a:prstGeom>
        </p:spPr>
      </p:pic>
      <p:pic>
        <p:nvPicPr>
          <p:cNvPr id="18" name="Picture 17"/>
          <p:cNvPicPr>
            <a:picLocks noChangeAspect="1"/>
          </p:cNvPicPr>
          <p:nvPr/>
        </p:nvPicPr>
        <p:blipFill>
          <a:blip r:embed="rId6"/>
          <a:stretch>
            <a:fillRect/>
          </a:stretch>
        </p:blipFill>
        <p:spPr>
          <a:xfrm>
            <a:off x="183633" y="3399374"/>
            <a:ext cx="4690301" cy="886519"/>
          </a:xfrm>
          <a:prstGeom prst="rect">
            <a:avLst/>
          </a:prstGeom>
        </p:spPr>
      </p:pic>
      <p:pic>
        <p:nvPicPr>
          <p:cNvPr id="19" name="Picture 18"/>
          <p:cNvPicPr>
            <a:picLocks noChangeAspect="1"/>
          </p:cNvPicPr>
          <p:nvPr/>
        </p:nvPicPr>
        <p:blipFill>
          <a:blip r:embed="rId7"/>
          <a:stretch>
            <a:fillRect/>
          </a:stretch>
        </p:blipFill>
        <p:spPr>
          <a:xfrm>
            <a:off x="183634" y="4285168"/>
            <a:ext cx="4690303" cy="745717"/>
          </a:xfrm>
          <a:prstGeom prst="rect">
            <a:avLst/>
          </a:prstGeom>
        </p:spPr>
      </p:pic>
      <p:pic>
        <p:nvPicPr>
          <p:cNvPr id="20" name="Picture 19"/>
          <p:cNvPicPr>
            <a:picLocks noChangeAspect="1"/>
          </p:cNvPicPr>
          <p:nvPr/>
        </p:nvPicPr>
        <p:blipFill>
          <a:blip r:embed="rId8"/>
          <a:stretch>
            <a:fillRect/>
          </a:stretch>
        </p:blipFill>
        <p:spPr>
          <a:xfrm>
            <a:off x="183635" y="5115884"/>
            <a:ext cx="4660062" cy="802499"/>
          </a:xfrm>
          <a:prstGeom prst="rect">
            <a:avLst/>
          </a:prstGeom>
        </p:spPr>
      </p:pic>
      <p:pic>
        <p:nvPicPr>
          <p:cNvPr id="21" name="Picture 20"/>
          <p:cNvPicPr>
            <a:picLocks noChangeAspect="1"/>
          </p:cNvPicPr>
          <p:nvPr/>
        </p:nvPicPr>
        <p:blipFill>
          <a:blip r:embed="rId9"/>
          <a:stretch>
            <a:fillRect/>
          </a:stretch>
        </p:blipFill>
        <p:spPr>
          <a:xfrm>
            <a:off x="198755" y="5963739"/>
            <a:ext cx="4644940" cy="682602"/>
          </a:xfrm>
          <a:prstGeom prst="rect">
            <a:avLst/>
          </a:prstGeom>
        </p:spPr>
      </p:pic>
      <p:pic>
        <p:nvPicPr>
          <p:cNvPr id="22" name="Picture 21" descr="Screen Shot 2015-11-04 at 10.42.49 PM.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128489" y="794525"/>
            <a:ext cx="3997751" cy="5914481"/>
          </a:xfrm>
          <a:prstGeom prst="rect">
            <a:avLst/>
          </a:prstGeom>
        </p:spPr>
      </p:pic>
    </p:spTree>
    <p:extLst>
      <p:ext uri="{BB962C8B-B14F-4D97-AF65-F5344CB8AC3E}">
        <p14:creationId xmlns:p14="http://schemas.microsoft.com/office/powerpoint/2010/main" val="176035996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a:xfrm>
            <a:off x="272574" y="5723111"/>
            <a:ext cx="1395413" cy="959643"/>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white"/>
                </a:solidFill>
                <a:latin typeface="Calibri"/>
              </a:rPr>
              <a:t>GL Omics Datasets</a:t>
            </a:r>
          </a:p>
          <a:p>
            <a:pPr algn="ctr"/>
            <a:r>
              <a:rPr lang="en-US" sz="1200" dirty="0" smtClean="0">
                <a:solidFill>
                  <a:prstClr val="black"/>
                </a:solidFill>
                <a:latin typeface="Calibri"/>
              </a:rPr>
              <a:t>------------</a:t>
            </a:r>
          </a:p>
          <a:p>
            <a:pPr algn="ctr"/>
            <a:r>
              <a:rPr lang="en-US" sz="1200" dirty="0" smtClean="0">
                <a:solidFill>
                  <a:prstClr val="black"/>
                </a:solidFill>
                <a:latin typeface="Calibri"/>
              </a:rPr>
              <a:t>----</a:t>
            </a:r>
          </a:p>
          <a:p>
            <a:pPr algn="ctr"/>
            <a:r>
              <a:rPr lang="en-US" sz="1200" dirty="0" smtClean="0">
                <a:solidFill>
                  <a:prstClr val="black"/>
                </a:solidFill>
                <a:latin typeface="Calibri"/>
              </a:rPr>
              <a:t>---------------</a:t>
            </a:r>
          </a:p>
        </p:txBody>
      </p:sp>
      <p:sp>
        <p:nvSpPr>
          <p:cNvPr id="31" name="Rectangle 30"/>
          <p:cNvSpPr/>
          <p:nvPr/>
        </p:nvSpPr>
        <p:spPr>
          <a:xfrm>
            <a:off x="7690843" y="1643484"/>
            <a:ext cx="1395413" cy="959643"/>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prstClr val="black"/>
              </a:solidFill>
              <a:latin typeface="Calibri"/>
            </a:endParaRPr>
          </a:p>
          <a:p>
            <a:pPr algn="ctr"/>
            <a:r>
              <a:rPr lang="en-US" sz="1200" dirty="0" smtClean="0">
                <a:solidFill>
                  <a:prstClr val="black"/>
                </a:solidFill>
                <a:latin typeface="Calibri"/>
              </a:rPr>
              <a:t>------------</a:t>
            </a:r>
          </a:p>
          <a:p>
            <a:pPr algn="ctr"/>
            <a:r>
              <a:rPr lang="en-US" sz="1200" dirty="0" smtClean="0">
                <a:solidFill>
                  <a:prstClr val="black"/>
                </a:solidFill>
                <a:latin typeface="Calibri"/>
              </a:rPr>
              <a:t>----</a:t>
            </a:r>
          </a:p>
          <a:p>
            <a:pPr algn="ctr"/>
            <a:r>
              <a:rPr lang="en-US" sz="1200" dirty="0" smtClean="0">
                <a:solidFill>
                  <a:prstClr val="black"/>
                </a:solidFill>
                <a:latin typeface="Calibri"/>
              </a:rPr>
              <a:t>---------------</a:t>
            </a:r>
          </a:p>
        </p:txBody>
      </p:sp>
      <p:sp>
        <p:nvSpPr>
          <p:cNvPr id="14" name="Rectangle 13"/>
          <p:cNvSpPr/>
          <p:nvPr/>
        </p:nvSpPr>
        <p:spPr>
          <a:xfrm>
            <a:off x="3181348" y="4756323"/>
            <a:ext cx="1295400" cy="533400"/>
          </a:xfrm>
          <a:prstGeom prst="rect">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latin typeface="Calibri"/>
              </a:rPr>
              <a:t>GeneLab DS</a:t>
            </a:r>
            <a:endParaRPr lang="en-US" dirty="0">
              <a:solidFill>
                <a:prstClr val="white"/>
              </a:solidFill>
              <a:latin typeface="Calibri"/>
            </a:endParaRPr>
          </a:p>
        </p:txBody>
      </p:sp>
      <p:sp>
        <p:nvSpPr>
          <p:cNvPr id="15" name="Rounded Rectangle 14"/>
          <p:cNvSpPr/>
          <p:nvPr/>
        </p:nvSpPr>
        <p:spPr>
          <a:xfrm>
            <a:off x="6381750" y="3894311"/>
            <a:ext cx="1524000" cy="457200"/>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latin typeface="Calibri"/>
              </a:rPr>
              <a:t>NCBI DBs</a:t>
            </a:r>
            <a:endParaRPr lang="en-US" dirty="0">
              <a:solidFill>
                <a:prstClr val="white"/>
              </a:solidFill>
              <a:latin typeface="Calibri"/>
            </a:endParaRPr>
          </a:p>
        </p:txBody>
      </p:sp>
      <p:sp>
        <p:nvSpPr>
          <p:cNvPr id="17" name="Rounded Rectangle 16"/>
          <p:cNvSpPr/>
          <p:nvPr/>
        </p:nvSpPr>
        <p:spPr>
          <a:xfrm>
            <a:off x="6591298" y="4632498"/>
            <a:ext cx="1600200" cy="390525"/>
          </a:xfrm>
          <a:prstGeom prst="round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latin typeface="Calibri"/>
              </a:rPr>
              <a:t>EMBL-EBI DBs</a:t>
            </a:r>
            <a:endParaRPr lang="en-US" dirty="0">
              <a:solidFill>
                <a:prstClr val="white"/>
              </a:solidFill>
              <a:latin typeface="Calibri"/>
            </a:endParaRP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800" y="4370561"/>
            <a:ext cx="447675" cy="1152525"/>
          </a:xfrm>
          <a:prstGeom prst="rect">
            <a:avLst/>
          </a:prstGeom>
        </p:spPr>
      </p:pic>
      <p:cxnSp>
        <p:nvCxnSpPr>
          <p:cNvPr id="19" name="Straight Connector 18"/>
          <p:cNvCxnSpPr/>
          <p:nvPr/>
        </p:nvCxnSpPr>
        <p:spPr>
          <a:xfrm flipV="1">
            <a:off x="1676400" y="5113511"/>
            <a:ext cx="1400175" cy="1"/>
          </a:xfrm>
          <a:prstGeom prst="line">
            <a:avLst/>
          </a:prstGeom>
          <a:ln>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1681162" y="4851901"/>
            <a:ext cx="1504950" cy="954107"/>
          </a:xfrm>
          <a:prstGeom prst="rect">
            <a:avLst/>
          </a:prstGeom>
          <a:noFill/>
        </p:spPr>
        <p:txBody>
          <a:bodyPr wrap="square" rtlCol="0">
            <a:spAutoFit/>
          </a:bodyPr>
          <a:lstStyle/>
          <a:p>
            <a:r>
              <a:rPr lang="en-US" sz="1400" dirty="0" smtClean="0">
                <a:solidFill>
                  <a:prstClr val="black"/>
                </a:solidFill>
                <a:latin typeface="Calibri"/>
              </a:rPr>
              <a:t>NASA </a:t>
            </a:r>
            <a:r>
              <a:rPr lang="en-US" sz="1400" dirty="0">
                <a:solidFill>
                  <a:prstClr val="black"/>
                </a:solidFill>
                <a:latin typeface="Calibri"/>
              </a:rPr>
              <a:t>u</a:t>
            </a:r>
            <a:r>
              <a:rPr lang="en-US" sz="1400" dirty="0" smtClean="0">
                <a:solidFill>
                  <a:prstClr val="black"/>
                </a:solidFill>
                <a:latin typeface="Calibri"/>
              </a:rPr>
              <a:t>nique Metadata  Submission and Curation </a:t>
            </a:r>
            <a:endParaRPr lang="en-US" sz="1400" dirty="0">
              <a:solidFill>
                <a:prstClr val="black"/>
              </a:solidFill>
              <a:latin typeface="Calibri"/>
            </a:endParaRPr>
          </a:p>
        </p:txBody>
      </p:sp>
      <p:sp>
        <p:nvSpPr>
          <p:cNvPr id="21" name="Rounded Rectangle 20"/>
          <p:cNvSpPr/>
          <p:nvPr/>
        </p:nvSpPr>
        <p:spPr>
          <a:xfrm>
            <a:off x="6457950" y="5342111"/>
            <a:ext cx="1524000" cy="381000"/>
          </a:xfrm>
          <a:prstGeom prst="round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prstClr val="white"/>
                </a:solidFill>
                <a:latin typeface="Calibri"/>
              </a:rPr>
              <a:t>DOE-IMG</a:t>
            </a:r>
            <a:endParaRPr lang="en-US" dirty="0">
              <a:solidFill>
                <a:prstClr val="white"/>
              </a:solidFill>
              <a:latin typeface="Calibri"/>
            </a:endParaRPr>
          </a:p>
        </p:txBody>
      </p:sp>
      <p:cxnSp>
        <p:nvCxnSpPr>
          <p:cNvPr id="22" name="Straight Connector 21"/>
          <p:cNvCxnSpPr/>
          <p:nvPr/>
        </p:nvCxnSpPr>
        <p:spPr>
          <a:xfrm flipH="1">
            <a:off x="5147338" y="4122911"/>
            <a:ext cx="1193468" cy="795337"/>
          </a:xfrm>
          <a:prstGeom prst="line">
            <a:avLst/>
          </a:prstGeom>
          <a:ln>
            <a:solidFill>
              <a:schemeClr val="tx1"/>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5133689" y="4827761"/>
            <a:ext cx="1362073" cy="276224"/>
          </a:xfrm>
          <a:prstGeom prst="line">
            <a:avLst/>
          </a:prstGeom>
          <a:ln>
            <a:solidFill>
              <a:schemeClr val="tx1"/>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flipV="1">
            <a:off x="5111441" y="5252263"/>
            <a:ext cx="1295400" cy="266700"/>
          </a:xfrm>
          <a:prstGeom prst="line">
            <a:avLst/>
          </a:prstGeom>
          <a:ln>
            <a:solidFill>
              <a:schemeClr val="tx1"/>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4637339" y="5532611"/>
            <a:ext cx="1599220" cy="523220"/>
          </a:xfrm>
          <a:prstGeom prst="rect">
            <a:avLst/>
          </a:prstGeom>
        </p:spPr>
        <p:txBody>
          <a:bodyPr wrap="none">
            <a:spAutoFit/>
          </a:bodyPr>
          <a:lstStyle/>
          <a:p>
            <a:r>
              <a:rPr lang="en-US" sz="1400" dirty="0" smtClean="0">
                <a:solidFill>
                  <a:prstClr val="black"/>
                </a:solidFill>
                <a:latin typeface="Calibri"/>
              </a:rPr>
              <a:t>Search Propagation</a:t>
            </a:r>
          </a:p>
          <a:p>
            <a:r>
              <a:rPr lang="en-US" sz="1400" dirty="0" smtClean="0">
                <a:solidFill>
                  <a:prstClr val="black"/>
                </a:solidFill>
                <a:latin typeface="Calibri"/>
              </a:rPr>
              <a:t>Data Sharing </a:t>
            </a:r>
            <a:endParaRPr lang="en-US" sz="1400" dirty="0">
              <a:solidFill>
                <a:prstClr val="black"/>
              </a:solidFill>
              <a:latin typeface="Calibri"/>
            </a:endParaRPr>
          </a:p>
        </p:txBody>
      </p:sp>
      <p:sp>
        <p:nvSpPr>
          <p:cNvPr id="27" name="Rectangle 26"/>
          <p:cNvSpPr/>
          <p:nvPr/>
        </p:nvSpPr>
        <p:spPr>
          <a:xfrm>
            <a:off x="7402712" y="1747103"/>
            <a:ext cx="1995487" cy="307777"/>
          </a:xfrm>
          <a:prstGeom prst="rect">
            <a:avLst/>
          </a:prstGeom>
        </p:spPr>
        <p:txBody>
          <a:bodyPr wrap="square">
            <a:spAutoFit/>
          </a:bodyPr>
          <a:lstStyle/>
          <a:p>
            <a:pPr algn="ctr"/>
            <a:r>
              <a:rPr lang="en-US" sz="1400" dirty="0" smtClean="0">
                <a:solidFill>
                  <a:prstClr val="black"/>
                </a:solidFill>
                <a:latin typeface="Calibri"/>
              </a:rPr>
              <a:t>GL Omics Datasets</a:t>
            </a:r>
            <a:endParaRPr lang="en-US" sz="1400" dirty="0">
              <a:solidFill>
                <a:prstClr val="black"/>
              </a:solidFill>
              <a:latin typeface="Calibri"/>
            </a:endParaRPr>
          </a:p>
        </p:txBody>
      </p:sp>
      <p:sp>
        <p:nvSpPr>
          <p:cNvPr id="2" name="Can 1"/>
          <p:cNvSpPr/>
          <p:nvPr/>
        </p:nvSpPr>
        <p:spPr>
          <a:xfrm>
            <a:off x="8062910" y="5265911"/>
            <a:ext cx="400050" cy="609600"/>
          </a:xfrm>
          <a:prstGeom prst="can">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28" name="Can 27"/>
          <p:cNvSpPr/>
          <p:nvPr/>
        </p:nvSpPr>
        <p:spPr>
          <a:xfrm>
            <a:off x="8359512" y="4616578"/>
            <a:ext cx="400050" cy="609600"/>
          </a:xfrm>
          <a:prstGeom prst="can">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29" name="Can 28"/>
          <p:cNvSpPr/>
          <p:nvPr/>
        </p:nvSpPr>
        <p:spPr>
          <a:xfrm>
            <a:off x="7962900" y="3646661"/>
            <a:ext cx="400050" cy="609600"/>
          </a:xfrm>
          <a:prstGeom prst="can">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67561" y="1900992"/>
            <a:ext cx="447675" cy="1152525"/>
          </a:xfrm>
          <a:prstGeom prst="rect">
            <a:avLst/>
          </a:prstGeom>
        </p:spPr>
      </p:pic>
      <p:cxnSp>
        <p:nvCxnSpPr>
          <p:cNvPr id="32" name="Straight Connector 31"/>
          <p:cNvCxnSpPr/>
          <p:nvPr/>
        </p:nvCxnSpPr>
        <p:spPr>
          <a:xfrm flipV="1">
            <a:off x="8419506" y="2694161"/>
            <a:ext cx="0" cy="1042071"/>
          </a:xfrm>
          <a:prstGeom prst="line">
            <a:avLst/>
          </a:prstGeom>
          <a:ln>
            <a:solidFill>
              <a:schemeClr val="tx1"/>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6505575" y="3053517"/>
            <a:ext cx="1838325" cy="523220"/>
          </a:xfrm>
          <a:prstGeom prst="rect">
            <a:avLst/>
          </a:prstGeom>
          <a:noFill/>
        </p:spPr>
        <p:txBody>
          <a:bodyPr wrap="square" rtlCol="0">
            <a:spAutoFit/>
          </a:bodyPr>
          <a:lstStyle/>
          <a:p>
            <a:r>
              <a:rPr lang="en-US" sz="1400" dirty="0" smtClean="0">
                <a:solidFill>
                  <a:prstClr val="black"/>
                </a:solidFill>
                <a:latin typeface="Calibri"/>
              </a:rPr>
              <a:t>Nontraditional User Query/Browse</a:t>
            </a:r>
            <a:endParaRPr lang="en-US" sz="1400" dirty="0">
              <a:solidFill>
                <a:prstClr val="black"/>
              </a:solidFill>
              <a:latin typeface="Calibri"/>
            </a:endParaRPr>
          </a:p>
        </p:txBody>
      </p:sp>
      <p:sp>
        <p:nvSpPr>
          <p:cNvPr id="34" name="Can 33"/>
          <p:cNvSpPr/>
          <p:nvPr/>
        </p:nvSpPr>
        <p:spPr>
          <a:xfrm>
            <a:off x="4676181" y="4718223"/>
            <a:ext cx="400050" cy="609600"/>
          </a:xfrm>
          <a:prstGeom prst="can">
            <a:avLst/>
          </a:prstGeom>
          <a:solidFill>
            <a:schemeClr val="tx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35" name="Can 34"/>
          <p:cNvSpPr/>
          <p:nvPr/>
        </p:nvSpPr>
        <p:spPr>
          <a:xfrm>
            <a:off x="8115300" y="3799061"/>
            <a:ext cx="400050" cy="609600"/>
          </a:xfrm>
          <a:prstGeom prst="can">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36" name="Can 35"/>
          <p:cNvSpPr/>
          <p:nvPr/>
        </p:nvSpPr>
        <p:spPr>
          <a:xfrm>
            <a:off x="8267700" y="3951461"/>
            <a:ext cx="400050" cy="609600"/>
          </a:xfrm>
          <a:prstGeom prst="can">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37" name="Can 36"/>
          <p:cNvSpPr/>
          <p:nvPr/>
        </p:nvSpPr>
        <p:spPr>
          <a:xfrm>
            <a:off x="8511912" y="4768978"/>
            <a:ext cx="400050" cy="609600"/>
          </a:xfrm>
          <a:prstGeom prst="can">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38" name="Can 37"/>
          <p:cNvSpPr/>
          <p:nvPr/>
        </p:nvSpPr>
        <p:spPr>
          <a:xfrm>
            <a:off x="8664312" y="4866786"/>
            <a:ext cx="400050" cy="609600"/>
          </a:xfrm>
          <a:prstGeom prst="can">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10" name="TextBox 9"/>
          <p:cNvSpPr txBox="1"/>
          <p:nvPr/>
        </p:nvSpPr>
        <p:spPr>
          <a:xfrm>
            <a:off x="-27464" y="1240856"/>
            <a:ext cx="7015818" cy="2718693"/>
          </a:xfrm>
          <a:prstGeom prst="rect">
            <a:avLst/>
          </a:prstGeom>
          <a:noFill/>
        </p:spPr>
        <p:txBody>
          <a:bodyPr wrap="square" rtlCol="0">
            <a:spAutoFit/>
          </a:bodyPr>
          <a:lstStyle/>
          <a:p>
            <a:pPr marL="285750" indent="-285750">
              <a:lnSpc>
                <a:spcPct val="140000"/>
              </a:lnSpc>
              <a:buFont typeface="Arial" panose="020B0604020202020204" pitchFamily="34" charset="0"/>
              <a:buChar char="•"/>
            </a:pPr>
            <a:r>
              <a:rPr lang="en-US" sz="2000" dirty="0" smtClean="0">
                <a:solidFill>
                  <a:prstClr val="black"/>
                </a:solidFill>
                <a:latin typeface="Calibri"/>
              </a:rPr>
              <a:t>Federated databases can be searched </a:t>
            </a:r>
            <a:r>
              <a:rPr lang="en-US" sz="2000" dirty="0">
                <a:solidFill>
                  <a:prstClr val="black"/>
                </a:solidFill>
                <a:latin typeface="Calibri"/>
              </a:rPr>
              <a:t>and </a:t>
            </a:r>
            <a:r>
              <a:rPr lang="en-US" sz="2000" dirty="0" smtClean="0">
                <a:solidFill>
                  <a:prstClr val="black"/>
                </a:solidFill>
                <a:latin typeface="Calibri"/>
              </a:rPr>
              <a:t>accessed </a:t>
            </a:r>
          </a:p>
          <a:p>
            <a:pPr marL="285750" indent="-285750">
              <a:lnSpc>
                <a:spcPct val="140000"/>
              </a:lnSpc>
              <a:buFont typeface="Arial" panose="020B0604020202020204" pitchFamily="34" charset="0"/>
              <a:buChar char="•"/>
            </a:pPr>
            <a:r>
              <a:rPr lang="en-US" sz="2000" dirty="0" smtClean="0">
                <a:solidFill>
                  <a:prstClr val="black"/>
                </a:solidFill>
                <a:latin typeface="Calibri"/>
              </a:rPr>
              <a:t>Federated data can be shared globally across data systems</a:t>
            </a:r>
          </a:p>
          <a:p>
            <a:pPr marL="285750" indent="-285750">
              <a:buFont typeface="Arial" panose="020B0604020202020204" pitchFamily="34" charset="0"/>
              <a:buChar char="•"/>
            </a:pPr>
            <a:r>
              <a:rPr lang="en-US" sz="2000" dirty="0" smtClean="0">
                <a:solidFill>
                  <a:prstClr val="black"/>
                </a:solidFill>
                <a:latin typeface="Calibri"/>
              </a:rPr>
              <a:t>Federating allows GeneLab to disseminate NASA’s data to other databases and pull in supporting data for NASA’s system biology research.</a:t>
            </a:r>
          </a:p>
          <a:p>
            <a:pPr marL="285750" indent="-285750">
              <a:lnSpc>
                <a:spcPct val="140000"/>
              </a:lnSpc>
              <a:buFont typeface="Arial" panose="020B0604020202020204" pitchFamily="34" charset="0"/>
              <a:buChar char="•"/>
            </a:pPr>
            <a:r>
              <a:rPr lang="en-US" sz="2000" dirty="0" smtClean="0">
                <a:solidFill>
                  <a:prstClr val="black"/>
                </a:solidFill>
                <a:latin typeface="Calibri"/>
              </a:rPr>
              <a:t>NASA unique metadata retained by GeneLab Data System</a:t>
            </a:r>
          </a:p>
          <a:p>
            <a:pPr>
              <a:lnSpc>
                <a:spcPct val="140000"/>
              </a:lnSpc>
            </a:pPr>
            <a:endParaRPr lang="en-US" sz="2000" dirty="0" smtClean="0">
              <a:solidFill>
                <a:prstClr val="black"/>
              </a:solidFill>
              <a:latin typeface="Calibri"/>
            </a:endParaRPr>
          </a:p>
        </p:txBody>
      </p:sp>
      <p:sp>
        <p:nvSpPr>
          <p:cNvPr id="39" name="Can 38"/>
          <p:cNvSpPr/>
          <p:nvPr/>
        </p:nvSpPr>
        <p:spPr>
          <a:xfrm>
            <a:off x="8215310" y="5418311"/>
            <a:ext cx="400050" cy="609600"/>
          </a:xfrm>
          <a:prstGeom prst="can">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41" name="Rectangle 40"/>
          <p:cNvSpPr/>
          <p:nvPr/>
        </p:nvSpPr>
        <p:spPr>
          <a:xfrm>
            <a:off x="-27464" y="5723111"/>
            <a:ext cx="1995487" cy="307777"/>
          </a:xfrm>
          <a:prstGeom prst="rect">
            <a:avLst/>
          </a:prstGeom>
        </p:spPr>
        <p:txBody>
          <a:bodyPr wrap="square">
            <a:spAutoFit/>
          </a:bodyPr>
          <a:lstStyle/>
          <a:p>
            <a:pPr algn="ctr"/>
            <a:r>
              <a:rPr lang="en-US" sz="1400" dirty="0" smtClean="0">
                <a:solidFill>
                  <a:prstClr val="black"/>
                </a:solidFill>
                <a:latin typeface="Calibri"/>
              </a:rPr>
              <a:t>GL Omics Datasets</a:t>
            </a:r>
            <a:endParaRPr lang="en-US" sz="1400" dirty="0">
              <a:solidFill>
                <a:prstClr val="black"/>
              </a:solidFill>
              <a:latin typeface="Calibri"/>
            </a:endParaRPr>
          </a:p>
        </p:txBody>
      </p:sp>
      <p:sp>
        <p:nvSpPr>
          <p:cNvPr id="42" name="TextBox 41"/>
          <p:cNvSpPr txBox="1"/>
          <p:nvPr/>
        </p:nvSpPr>
        <p:spPr>
          <a:xfrm>
            <a:off x="2856237" y="0"/>
            <a:ext cx="6208125" cy="1077218"/>
          </a:xfrm>
          <a:prstGeom prst="rect">
            <a:avLst/>
          </a:prstGeom>
          <a:noFill/>
        </p:spPr>
        <p:txBody>
          <a:bodyPr wrap="square" rtlCol="0">
            <a:spAutoFit/>
          </a:bodyPr>
          <a:lstStyle/>
          <a:p>
            <a:pPr algn="ctr"/>
            <a:r>
              <a:rPr lang="en-US" sz="3200" b="1" dirty="0" smtClean="0">
                <a:solidFill>
                  <a:prstClr val="black"/>
                </a:solidFill>
                <a:latin typeface="Calibri"/>
              </a:rPr>
              <a:t>GLDS  v 2.0 Capability </a:t>
            </a:r>
          </a:p>
          <a:p>
            <a:pPr algn="ctr"/>
            <a:r>
              <a:rPr lang="en-US" sz="3200" b="1" dirty="0" smtClean="0">
                <a:solidFill>
                  <a:prstClr val="black"/>
                </a:solidFill>
                <a:latin typeface="Calibri"/>
              </a:rPr>
              <a:t>Omics External Interfaces </a:t>
            </a:r>
          </a:p>
        </p:txBody>
      </p:sp>
      <p:pic>
        <p:nvPicPr>
          <p:cNvPr id="43" name="Picture 42"/>
          <p:cNvPicPr>
            <a:picLocks noChangeAspect="1"/>
          </p:cNvPicPr>
          <p:nvPr/>
        </p:nvPicPr>
        <p:blipFill>
          <a:blip r:embed="rId4"/>
          <a:stretch>
            <a:fillRect/>
          </a:stretch>
        </p:blipFill>
        <p:spPr>
          <a:xfrm>
            <a:off x="12473" y="0"/>
            <a:ext cx="3283752" cy="644690"/>
          </a:xfrm>
          <a:prstGeom prst="rect">
            <a:avLst/>
          </a:prstGeom>
        </p:spPr>
      </p:pic>
      <p:sp>
        <p:nvSpPr>
          <p:cNvPr id="44" name="Date Placeholder 3"/>
          <p:cNvSpPr>
            <a:spLocks noGrp="1"/>
          </p:cNvSpPr>
          <p:nvPr>
            <p:ph type="dt" sz="half" idx="10"/>
          </p:nvPr>
        </p:nvSpPr>
        <p:spPr>
          <a:xfrm>
            <a:off x="487440" y="6433831"/>
            <a:ext cx="2133600" cy="365125"/>
          </a:xfrm>
          <a:prstGeom prst="rect">
            <a:avLst/>
          </a:prstGeom>
        </p:spPr>
        <p:txBody>
          <a:bodyPr anchor="ctr"/>
          <a:lstStyle>
            <a:lvl1pPr>
              <a:defRPr sz="1400" b="1">
                <a:latin typeface="Arial"/>
                <a:cs typeface="Arial"/>
              </a:defRPr>
            </a:lvl1pPr>
          </a:lstStyle>
          <a:p>
            <a:r>
              <a:rPr lang="en-US" smtClean="0">
                <a:solidFill>
                  <a:prstClr val="black"/>
                </a:solidFill>
              </a:rPr>
              <a:t>14 January 2016</a:t>
            </a:r>
            <a:endParaRPr lang="en-US" dirty="0">
              <a:solidFill>
                <a:prstClr val="black"/>
              </a:solidFill>
            </a:endParaRPr>
          </a:p>
        </p:txBody>
      </p:sp>
      <p:sp>
        <p:nvSpPr>
          <p:cNvPr id="45" name="Footer Placeholder 4"/>
          <p:cNvSpPr>
            <a:spLocks noGrp="1"/>
          </p:cNvSpPr>
          <p:nvPr>
            <p:ph type="ftr" sz="quarter" idx="11"/>
          </p:nvPr>
        </p:nvSpPr>
        <p:spPr>
          <a:xfrm>
            <a:off x="2811452" y="6433831"/>
            <a:ext cx="5024720" cy="365125"/>
          </a:xfrm>
        </p:spPr>
        <p:txBody>
          <a:bodyPr/>
          <a:lstStyle>
            <a:lvl1pPr>
              <a:defRPr sz="1400" b="1">
                <a:latin typeface="Arial"/>
                <a:cs typeface="Arial"/>
              </a:defRPr>
            </a:lvl1pPr>
          </a:lstStyle>
          <a:p>
            <a:pPr algn="l"/>
            <a:r>
              <a:rPr lang="en-US" dirty="0">
                <a:solidFill>
                  <a:schemeClr val="tx1"/>
                </a:solidFill>
              </a:rPr>
              <a:t>Collaborative Life Sciences Data </a:t>
            </a:r>
            <a:r>
              <a:rPr lang="en-US" dirty="0" smtClean="0">
                <a:solidFill>
                  <a:schemeClr val="tx1"/>
                </a:solidFill>
              </a:rPr>
              <a:t>TEM </a:t>
            </a:r>
            <a:r>
              <a:rPr lang="en-US" dirty="0" smtClean="0">
                <a:solidFill>
                  <a:srgbClr val="000000"/>
                </a:solidFill>
              </a:rPr>
              <a:t>| Michael Skidmore                      </a:t>
            </a:r>
            <a:endParaRPr lang="en-US" dirty="0">
              <a:solidFill>
                <a:srgbClr val="000000"/>
              </a:solidFill>
            </a:endParaRPr>
          </a:p>
        </p:txBody>
      </p:sp>
      <p:sp>
        <p:nvSpPr>
          <p:cNvPr id="46" name="Slide Number Placeholder 1"/>
          <p:cNvSpPr>
            <a:spLocks noGrp="1"/>
          </p:cNvSpPr>
          <p:nvPr>
            <p:ph type="sldNum" sz="quarter" idx="12"/>
          </p:nvPr>
        </p:nvSpPr>
        <p:spPr>
          <a:xfrm>
            <a:off x="7786154" y="6433831"/>
            <a:ext cx="1085865" cy="365125"/>
          </a:xfrm>
        </p:spPr>
        <p:txBody>
          <a:bodyPr/>
          <a:lstStyle/>
          <a:p>
            <a:fld id="{ACB3FC3A-BC2E-574C-8636-F1DF04588B6F}" type="slidenum">
              <a:rPr lang="en-US" sz="1400" b="1" smtClean="0">
                <a:solidFill>
                  <a:srgbClr val="000000"/>
                </a:solidFill>
                <a:latin typeface="Arial"/>
                <a:cs typeface="Arial"/>
              </a:rPr>
              <a:pPr/>
              <a:t>15</a:t>
            </a:fld>
            <a:endParaRPr lang="en-US" sz="1400" b="1" dirty="0">
              <a:solidFill>
                <a:srgbClr val="000000"/>
              </a:solidFill>
              <a:latin typeface="Arial"/>
              <a:cs typeface="Arial"/>
            </a:endParaRPr>
          </a:p>
        </p:txBody>
      </p:sp>
    </p:spTree>
    <p:extLst>
      <p:ext uri="{BB962C8B-B14F-4D97-AF65-F5344CB8AC3E}">
        <p14:creationId xmlns:p14="http://schemas.microsoft.com/office/powerpoint/2010/main" val="172714826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85406" y="-26736"/>
            <a:ext cx="6416842" cy="639762"/>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3200" b="1" dirty="0" smtClean="0">
                <a:solidFill>
                  <a:prstClr val="black"/>
                </a:solidFill>
                <a:latin typeface="Calibri"/>
              </a:rPr>
              <a:t>Open Science &amp; Systems Biology</a:t>
            </a:r>
            <a:endParaRPr lang="en-US" sz="3200" b="1" dirty="0">
              <a:solidFill>
                <a:prstClr val="black"/>
              </a:solidFill>
              <a:latin typeface="Calibri"/>
            </a:endParaRPr>
          </a:p>
        </p:txBody>
      </p:sp>
      <p:grpSp>
        <p:nvGrpSpPr>
          <p:cNvPr id="7" name="Group 6"/>
          <p:cNvGrpSpPr/>
          <p:nvPr/>
        </p:nvGrpSpPr>
        <p:grpSpPr>
          <a:xfrm>
            <a:off x="1958593" y="986975"/>
            <a:ext cx="5138875" cy="4753436"/>
            <a:chOff x="1727201" y="1016008"/>
            <a:chExt cx="5355753" cy="4884057"/>
          </a:xfrm>
        </p:grpSpPr>
        <p:sp>
          <p:nvSpPr>
            <p:cNvPr id="8" name="Oval 7"/>
            <p:cNvSpPr/>
            <p:nvPr/>
          </p:nvSpPr>
          <p:spPr>
            <a:xfrm>
              <a:off x="1727201" y="1016009"/>
              <a:ext cx="3570502" cy="3425371"/>
            </a:xfrm>
            <a:prstGeom prst="ellipse">
              <a:avLst/>
            </a:prstGeom>
            <a:solidFill>
              <a:srgbClr val="800000">
                <a:alpha val="50196"/>
              </a:srgbClr>
            </a:solidFill>
            <a:ln>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9" name="Oval 8"/>
            <p:cNvSpPr/>
            <p:nvPr/>
          </p:nvSpPr>
          <p:spPr>
            <a:xfrm>
              <a:off x="3512452" y="1016008"/>
              <a:ext cx="3570502" cy="3425371"/>
            </a:xfrm>
            <a:prstGeom prst="ellipse">
              <a:avLst/>
            </a:prstGeom>
            <a:solidFill>
              <a:srgbClr val="003300">
                <a:alpha val="50196"/>
              </a:srgbClr>
            </a:solidFill>
            <a:ln>
              <a:solidFill>
                <a:srgbClr val="0033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10" name="Oval 9"/>
            <p:cNvSpPr/>
            <p:nvPr/>
          </p:nvSpPr>
          <p:spPr>
            <a:xfrm>
              <a:off x="2648852" y="2474694"/>
              <a:ext cx="3570502" cy="3425371"/>
            </a:xfrm>
            <a:prstGeom prst="ellipse">
              <a:avLst/>
            </a:prstGeom>
            <a:solidFill>
              <a:srgbClr val="17375E">
                <a:alpha val="50196"/>
              </a:srgbClr>
            </a:solid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11" name="TextBox 10"/>
            <p:cNvSpPr txBox="1"/>
            <p:nvPr/>
          </p:nvSpPr>
          <p:spPr>
            <a:xfrm>
              <a:off x="3558694" y="2763206"/>
              <a:ext cx="1745969" cy="474351"/>
            </a:xfrm>
            <a:prstGeom prst="rect">
              <a:avLst/>
            </a:prstGeom>
            <a:noFill/>
          </p:spPr>
          <p:txBody>
            <a:bodyPr wrap="none" rtlCol="0">
              <a:spAutoFit/>
            </a:bodyPr>
            <a:lstStyle/>
            <a:p>
              <a:r>
                <a:rPr lang="en-US" sz="2400" dirty="0">
                  <a:solidFill>
                    <a:prstClr val="white"/>
                  </a:solidFill>
                  <a:latin typeface="Arial Black" panose="020B0A04020102020204" pitchFamily="34" charset="0"/>
                </a:rPr>
                <a:t>G</a:t>
              </a:r>
              <a:r>
                <a:rPr lang="en-US" sz="2400" dirty="0" smtClean="0">
                  <a:solidFill>
                    <a:prstClr val="white"/>
                  </a:solidFill>
                  <a:latin typeface="Arial Black" panose="020B0A04020102020204" pitchFamily="34" charset="0"/>
                </a:rPr>
                <a:t>eneLab</a:t>
              </a:r>
              <a:endParaRPr lang="en-US" sz="2400" dirty="0">
                <a:solidFill>
                  <a:prstClr val="white"/>
                </a:solidFill>
                <a:latin typeface="Arial Black" panose="020B0A04020102020204" pitchFamily="34" charset="0"/>
              </a:endParaRPr>
            </a:p>
          </p:txBody>
        </p:sp>
        <p:sp>
          <p:nvSpPr>
            <p:cNvPr id="12" name="TextBox 11"/>
            <p:cNvSpPr txBox="1"/>
            <p:nvPr/>
          </p:nvSpPr>
          <p:spPr>
            <a:xfrm>
              <a:off x="1810420" y="1486603"/>
              <a:ext cx="1785251" cy="1517924"/>
            </a:xfrm>
            <a:prstGeom prst="rect">
              <a:avLst/>
            </a:prstGeom>
            <a:noFill/>
          </p:spPr>
          <p:txBody>
            <a:bodyPr wrap="square" rtlCol="0">
              <a:spAutoFit/>
            </a:bodyPr>
            <a:lstStyle/>
            <a:p>
              <a:pPr algn="ctr"/>
              <a:r>
                <a:rPr lang="en-US" dirty="0" smtClean="0">
                  <a:solidFill>
                    <a:prstClr val="black"/>
                  </a:solidFill>
                  <a:latin typeface="Arial Black" panose="020B0A04020102020204" pitchFamily="34" charset="0"/>
                </a:rPr>
                <a:t>Open Science</a:t>
              </a:r>
            </a:p>
            <a:p>
              <a:pPr algn="ctr"/>
              <a:r>
                <a:rPr lang="en-US" dirty="0">
                  <a:solidFill>
                    <a:prstClr val="black"/>
                  </a:solidFill>
                  <a:latin typeface="Arial Black" panose="020B0A04020102020204" pitchFamily="34" charset="0"/>
                </a:rPr>
                <a:t>&amp;</a:t>
              </a:r>
              <a:endParaRPr lang="en-US" dirty="0" smtClean="0">
                <a:solidFill>
                  <a:prstClr val="black"/>
                </a:solidFill>
                <a:latin typeface="Arial Black" panose="020B0A04020102020204" pitchFamily="34" charset="0"/>
              </a:endParaRPr>
            </a:p>
            <a:p>
              <a:pPr algn="ctr"/>
              <a:r>
                <a:rPr lang="en-US" dirty="0" smtClean="0">
                  <a:solidFill>
                    <a:prstClr val="black"/>
                  </a:solidFill>
                  <a:latin typeface="Arial Black" panose="020B0A04020102020204" pitchFamily="34" charset="0"/>
                </a:rPr>
                <a:t>Information Systems</a:t>
              </a:r>
              <a:endParaRPr lang="en-US" dirty="0">
                <a:solidFill>
                  <a:prstClr val="black"/>
                </a:solidFill>
                <a:latin typeface="Arial Black" panose="020B0A04020102020204" pitchFamily="34" charset="0"/>
              </a:endParaRPr>
            </a:p>
          </p:txBody>
        </p:sp>
        <p:sp>
          <p:nvSpPr>
            <p:cNvPr id="13" name="TextBox 12"/>
            <p:cNvSpPr txBox="1"/>
            <p:nvPr/>
          </p:nvSpPr>
          <p:spPr>
            <a:xfrm>
              <a:off x="5044227" y="1703774"/>
              <a:ext cx="1673780" cy="646331"/>
            </a:xfrm>
            <a:prstGeom prst="rect">
              <a:avLst/>
            </a:prstGeom>
            <a:noFill/>
          </p:spPr>
          <p:txBody>
            <a:bodyPr wrap="square" rtlCol="0">
              <a:spAutoFit/>
            </a:bodyPr>
            <a:lstStyle/>
            <a:p>
              <a:pPr algn="ctr"/>
              <a:r>
                <a:rPr lang="en-US" dirty="0" smtClean="0">
                  <a:solidFill>
                    <a:prstClr val="black"/>
                  </a:solidFill>
                  <a:latin typeface="Arial Black" panose="020B0A04020102020204" pitchFamily="34" charset="0"/>
                </a:rPr>
                <a:t>Systems Biology</a:t>
              </a:r>
              <a:endParaRPr lang="en-US" dirty="0">
                <a:solidFill>
                  <a:prstClr val="black"/>
                </a:solidFill>
                <a:latin typeface="Arial Black" panose="020B0A04020102020204" pitchFamily="34" charset="0"/>
              </a:endParaRPr>
            </a:p>
          </p:txBody>
        </p:sp>
        <p:sp>
          <p:nvSpPr>
            <p:cNvPr id="14" name="TextBox 13"/>
            <p:cNvSpPr txBox="1"/>
            <p:nvPr/>
          </p:nvSpPr>
          <p:spPr>
            <a:xfrm>
              <a:off x="3694706" y="4606630"/>
              <a:ext cx="1673780" cy="923330"/>
            </a:xfrm>
            <a:prstGeom prst="rect">
              <a:avLst/>
            </a:prstGeom>
            <a:noFill/>
          </p:spPr>
          <p:txBody>
            <a:bodyPr wrap="square" rtlCol="0">
              <a:spAutoFit/>
            </a:bodyPr>
            <a:lstStyle/>
            <a:p>
              <a:pPr algn="ctr"/>
              <a:r>
                <a:rPr lang="en-US" dirty="0" smtClean="0">
                  <a:solidFill>
                    <a:prstClr val="black"/>
                  </a:solidFill>
                  <a:latin typeface="Arial Black" panose="020B0A04020102020204" pitchFamily="34" charset="0"/>
                </a:rPr>
                <a:t>NASA Space Biology</a:t>
              </a:r>
              <a:endParaRPr lang="en-US" dirty="0">
                <a:solidFill>
                  <a:prstClr val="black"/>
                </a:solidFill>
                <a:latin typeface="Arial Black" panose="020B0A04020102020204" pitchFamily="34" charset="0"/>
              </a:endParaRPr>
            </a:p>
          </p:txBody>
        </p:sp>
      </p:grpSp>
      <p:sp>
        <p:nvSpPr>
          <p:cNvPr id="15" name="TextBox 14"/>
          <p:cNvSpPr txBox="1"/>
          <p:nvPr/>
        </p:nvSpPr>
        <p:spPr>
          <a:xfrm>
            <a:off x="67193" y="947200"/>
            <a:ext cx="1891400" cy="2400657"/>
          </a:xfrm>
          <a:prstGeom prst="rect">
            <a:avLst/>
          </a:prstGeom>
          <a:noFill/>
        </p:spPr>
        <p:txBody>
          <a:bodyPr wrap="square" rtlCol="0">
            <a:spAutoFit/>
          </a:bodyPr>
          <a:lstStyle/>
          <a:p>
            <a:r>
              <a:rPr lang="en-US" u="sng" dirty="0" smtClean="0">
                <a:solidFill>
                  <a:prstClr val="black"/>
                </a:solidFill>
                <a:latin typeface="Calibri"/>
              </a:rPr>
              <a:t>Open Access</a:t>
            </a:r>
            <a:r>
              <a:rPr lang="en-US" dirty="0" smtClean="0">
                <a:solidFill>
                  <a:prstClr val="black"/>
                </a:solidFill>
                <a:latin typeface="Calibri"/>
              </a:rPr>
              <a:t>: </a:t>
            </a:r>
            <a:r>
              <a:rPr lang="en-US" sz="1200" dirty="0">
                <a:solidFill>
                  <a:prstClr val="black"/>
                </a:solidFill>
                <a:latin typeface="Calibri"/>
              </a:rPr>
              <a:t>Experim</a:t>
            </a:r>
            <a:r>
              <a:rPr lang="en-US" sz="1200" dirty="0" smtClean="0">
                <a:solidFill>
                  <a:prstClr val="black"/>
                </a:solidFill>
                <a:latin typeface="Calibri"/>
              </a:rPr>
              <a:t>ental data and analysis tools, in raw and annotated form, are posted for free and </a:t>
            </a:r>
          </a:p>
          <a:p>
            <a:r>
              <a:rPr lang="en-US" sz="1200" dirty="0" smtClean="0">
                <a:solidFill>
                  <a:prstClr val="black"/>
                </a:solidFill>
                <a:latin typeface="Calibri"/>
              </a:rPr>
              <a:t>open access </a:t>
            </a:r>
          </a:p>
          <a:p>
            <a:endParaRPr lang="en-US" sz="1200" dirty="0" smtClean="0">
              <a:solidFill>
                <a:prstClr val="black"/>
              </a:solidFill>
              <a:latin typeface="Calibri"/>
            </a:endParaRPr>
          </a:p>
          <a:p>
            <a:r>
              <a:rPr lang="en-US" sz="1200" dirty="0" smtClean="0">
                <a:solidFill>
                  <a:prstClr val="black"/>
                </a:solidFill>
                <a:latin typeface="Calibri"/>
              </a:rPr>
              <a:t>Data products and tools are sharable and reusable in a collaborative system</a:t>
            </a:r>
          </a:p>
          <a:p>
            <a:endParaRPr lang="en-US" sz="1200" dirty="0">
              <a:solidFill>
                <a:prstClr val="black"/>
              </a:solidFill>
              <a:latin typeface="Calibri"/>
            </a:endParaRPr>
          </a:p>
        </p:txBody>
      </p:sp>
      <p:sp>
        <p:nvSpPr>
          <p:cNvPr id="16" name="TextBox 15"/>
          <p:cNvSpPr txBox="1"/>
          <p:nvPr/>
        </p:nvSpPr>
        <p:spPr>
          <a:xfrm>
            <a:off x="7097468" y="954460"/>
            <a:ext cx="1959447" cy="3323987"/>
          </a:xfrm>
          <a:prstGeom prst="rect">
            <a:avLst/>
          </a:prstGeom>
          <a:noFill/>
        </p:spPr>
        <p:txBody>
          <a:bodyPr wrap="square" rtlCol="0">
            <a:spAutoFit/>
          </a:bodyPr>
          <a:lstStyle/>
          <a:p>
            <a:r>
              <a:rPr lang="en-US" u="sng" dirty="0" smtClean="0">
                <a:solidFill>
                  <a:prstClr val="black"/>
                </a:solidFill>
                <a:latin typeface="Calibri"/>
              </a:rPr>
              <a:t>Systems Studies</a:t>
            </a:r>
            <a:r>
              <a:rPr lang="en-US" dirty="0" smtClean="0">
                <a:solidFill>
                  <a:prstClr val="black"/>
                </a:solidFill>
                <a:latin typeface="Calibri"/>
              </a:rPr>
              <a:t>: </a:t>
            </a:r>
            <a:r>
              <a:rPr lang="en-US" sz="1200" dirty="0">
                <a:solidFill>
                  <a:prstClr val="black"/>
                </a:solidFill>
                <a:latin typeface="Calibri"/>
              </a:rPr>
              <a:t>F</a:t>
            </a:r>
            <a:r>
              <a:rPr lang="en-US" sz="1200" dirty="0" smtClean="0">
                <a:solidFill>
                  <a:prstClr val="black"/>
                </a:solidFill>
                <a:latin typeface="Calibri"/>
              </a:rPr>
              <a:t>ocus is on inter-disciplinary  studies  designed to uncover emergent properties in complex living systems</a:t>
            </a:r>
          </a:p>
          <a:p>
            <a:endParaRPr lang="en-US" sz="1200" dirty="0" smtClean="0">
              <a:solidFill>
                <a:prstClr val="black"/>
              </a:solidFill>
              <a:latin typeface="Calibri"/>
            </a:endParaRPr>
          </a:p>
          <a:p>
            <a:r>
              <a:rPr lang="en-US" u="sng" dirty="0" smtClean="0">
                <a:solidFill>
                  <a:prstClr val="black"/>
                </a:solidFill>
                <a:latin typeface="Calibri"/>
              </a:rPr>
              <a:t>Systems Analysis</a:t>
            </a:r>
            <a:r>
              <a:rPr lang="en-US" dirty="0" smtClean="0">
                <a:solidFill>
                  <a:prstClr val="black"/>
                </a:solidFill>
                <a:latin typeface="Calibri"/>
              </a:rPr>
              <a:t>: </a:t>
            </a:r>
            <a:r>
              <a:rPr lang="en-US" sz="1200" dirty="0">
                <a:solidFill>
                  <a:prstClr val="black"/>
                </a:solidFill>
                <a:latin typeface="Calibri"/>
              </a:rPr>
              <a:t>M</a:t>
            </a:r>
            <a:r>
              <a:rPr lang="en-US" sz="1200" dirty="0" smtClean="0">
                <a:solidFill>
                  <a:prstClr val="black"/>
                </a:solidFill>
                <a:latin typeface="Calibri"/>
              </a:rPr>
              <a:t>ake heavy use of high throughput sequencing and ‘omics technologies and  computational methods  to develop complex biological models</a:t>
            </a:r>
          </a:p>
          <a:p>
            <a:endParaRPr lang="en-US" sz="1200" dirty="0">
              <a:solidFill>
                <a:prstClr val="black"/>
              </a:solidFill>
              <a:latin typeface="Calibri"/>
            </a:endParaRPr>
          </a:p>
        </p:txBody>
      </p:sp>
      <p:sp>
        <p:nvSpPr>
          <p:cNvPr id="18" name="Rectangle 17"/>
          <p:cNvSpPr/>
          <p:nvPr/>
        </p:nvSpPr>
        <p:spPr>
          <a:xfrm>
            <a:off x="0" y="3214807"/>
            <a:ext cx="2443779" cy="1661993"/>
          </a:xfrm>
          <a:prstGeom prst="rect">
            <a:avLst/>
          </a:prstGeom>
        </p:spPr>
        <p:txBody>
          <a:bodyPr wrap="square">
            <a:spAutoFit/>
          </a:bodyPr>
          <a:lstStyle/>
          <a:p>
            <a:r>
              <a:rPr lang="en-US" u="sng" dirty="0">
                <a:solidFill>
                  <a:prstClr val="black"/>
                </a:solidFill>
                <a:latin typeface="Calibri"/>
              </a:rPr>
              <a:t>Open  Benefits</a:t>
            </a:r>
            <a:r>
              <a:rPr lang="en-US" dirty="0">
                <a:solidFill>
                  <a:prstClr val="black"/>
                </a:solidFill>
                <a:latin typeface="Calibri"/>
              </a:rPr>
              <a:t>:</a:t>
            </a:r>
          </a:p>
          <a:p>
            <a:pPr marL="171450" indent="-171450">
              <a:buFont typeface="Arial" panose="020B0604020202020204" pitchFamily="34" charset="0"/>
              <a:buChar char="•"/>
            </a:pPr>
            <a:r>
              <a:rPr lang="en-US" sz="1200" dirty="0" smtClean="0">
                <a:solidFill>
                  <a:prstClr val="black"/>
                </a:solidFill>
                <a:latin typeface="Calibri"/>
              </a:rPr>
              <a:t>Increases sharing of ideas, hypotheses, and information</a:t>
            </a:r>
          </a:p>
          <a:p>
            <a:pPr marL="171450" indent="-171450">
              <a:buFont typeface="Arial" panose="020B0604020202020204" pitchFamily="34" charset="0"/>
              <a:buChar char="•"/>
            </a:pPr>
            <a:r>
              <a:rPr lang="en-US" sz="1200" dirty="0" smtClean="0">
                <a:solidFill>
                  <a:prstClr val="black"/>
                </a:solidFill>
                <a:latin typeface="Calibri"/>
              </a:rPr>
              <a:t>Engages a broad community of researchers</a:t>
            </a:r>
          </a:p>
          <a:p>
            <a:pPr marL="171450" indent="-171450">
              <a:buFont typeface="Arial" panose="020B0604020202020204" pitchFamily="34" charset="0"/>
              <a:buChar char="•"/>
            </a:pPr>
            <a:r>
              <a:rPr lang="en-US" sz="1200" dirty="0" smtClean="0">
                <a:solidFill>
                  <a:prstClr val="black"/>
                </a:solidFill>
                <a:latin typeface="Calibri"/>
              </a:rPr>
              <a:t>Speeds </a:t>
            </a:r>
            <a:r>
              <a:rPr lang="en-US" sz="1200" dirty="0">
                <a:solidFill>
                  <a:prstClr val="black"/>
                </a:solidFill>
                <a:latin typeface="Calibri"/>
              </a:rPr>
              <a:t>up the scientific discovery and validation </a:t>
            </a:r>
            <a:r>
              <a:rPr lang="en-US" sz="1200" dirty="0" smtClean="0">
                <a:solidFill>
                  <a:prstClr val="black"/>
                </a:solidFill>
                <a:latin typeface="Calibri"/>
              </a:rPr>
              <a:t>process</a:t>
            </a:r>
          </a:p>
        </p:txBody>
      </p:sp>
      <p:sp>
        <p:nvSpPr>
          <p:cNvPr id="19" name="TextBox 18"/>
          <p:cNvSpPr txBox="1"/>
          <p:nvPr/>
        </p:nvSpPr>
        <p:spPr>
          <a:xfrm>
            <a:off x="401492" y="5188712"/>
            <a:ext cx="2904981" cy="1107996"/>
          </a:xfrm>
          <a:prstGeom prst="rect">
            <a:avLst/>
          </a:prstGeom>
          <a:noFill/>
        </p:spPr>
        <p:txBody>
          <a:bodyPr wrap="square" rtlCol="0">
            <a:spAutoFit/>
          </a:bodyPr>
          <a:lstStyle/>
          <a:p>
            <a:r>
              <a:rPr lang="en-US" u="sng" dirty="0" smtClean="0">
                <a:solidFill>
                  <a:prstClr val="black"/>
                </a:solidFill>
                <a:latin typeface="Calibri"/>
              </a:rPr>
              <a:t>Space Biology </a:t>
            </a:r>
            <a:r>
              <a:rPr lang="en-US" u="sng" dirty="0">
                <a:solidFill>
                  <a:prstClr val="black"/>
                </a:solidFill>
                <a:latin typeface="Calibri"/>
              </a:rPr>
              <a:t>G</a:t>
            </a:r>
            <a:r>
              <a:rPr lang="en-US" u="sng" dirty="0" smtClean="0">
                <a:solidFill>
                  <a:prstClr val="black"/>
                </a:solidFill>
                <a:latin typeface="Calibri"/>
              </a:rPr>
              <a:t>oals</a:t>
            </a:r>
            <a:r>
              <a:rPr lang="en-US" dirty="0" smtClean="0">
                <a:solidFill>
                  <a:prstClr val="black"/>
                </a:solidFill>
                <a:latin typeface="Calibri"/>
              </a:rPr>
              <a:t>: </a:t>
            </a:r>
          </a:p>
          <a:p>
            <a:pPr marL="171450" indent="-171450">
              <a:buFont typeface="Arial" panose="020B0604020202020204" pitchFamily="34" charset="0"/>
              <a:buChar char="•"/>
            </a:pPr>
            <a:r>
              <a:rPr lang="en-US" sz="1200" dirty="0">
                <a:solidFill>
                  <a:prstClr val="black"/>
                </a:solidFill>
                <a:latin typeface="Calibri"/>
              </a:rPr>
              <a:t>Open Science to increase the </a:t>
            </a:r>
            <a:r>
              <a:rPr lang="en-US" sz="1200" dirty="0" smtClean="0">
                <a:solidFill>
                  <a:prstClr val="black"/>
                </a:solidFill>
                <a:latin typeface="Calibri"/>
              </a:rPr>
              <a:t>access and impact science and broaden the community scientists involved with space biology.</a:t>
            </a:r>
            <a:endParaRPr lang="en-US" sz="1200" dirty="0">
              <a:solidFill>
                <a:prstClr val="black"/>
              </a:solidFill>
              <a:latin typeface="Calibri"/>
            </a:endParaRPr>
          </a:p>
        </p:txBody>
      </p:sp>
      <p:sp>
        <p:nvSpPr>
          <p:cNvPr id="20" name="Rectangle 19"/>
          <p:cNvSpPr/>
          <p:nvPr/>
        </p:nvSpPr>
        <p:spPr>
          <a:xfrm>
            <a:off x="5982442" y="5257697"/>
            <a:ext cx="2957196" cy="369332"/>
          </a:xfrm>
          <a:prstGeom prst="rect">
            <a:avLst/>
          </a:prstGeom>
        </p:spPr>
        <p:txBody>
          <a:bodyPr wrap="square">
            <a:spAutoFit/>
          </a:bodyPr>
          <a:lstStyle/>
          <a:p>
            <a:r>
              <a:rPr lang="en-US" u="sng" dirty="0">
                <a:solidFill>
                  <a:prstClr val="black"/>
                </a:solidFill>
                <a:latin typeface="Calibri"/>
              </a:rPr>
              <a:t>Space Biology </a:t>
            </a:r>
            <a:r>
              <a:rPr lang="en-US" u="sng" dirty="0" smtClean="0">
                <a:solidFill>
                  <a:prstClr val="black"/>
                </a:solidFill>
                <a:latin typeface="Calibri"/>
              </a:rPr>
              <a:t>Goals</a:t>
            </a:r>
            <a:r>
              <a:rPr lang="en-US" dirty="0" smtClean="0">
                <a:solidFill>
                  <a:prstClr val="black"/>
                </a:solidFill>
                <a:latin typeface="Calibri"/>
              </a:rPr>
              <a:t>: </a:t>
            </a:r>
          </a:p>
        </p:txBody>
      </p:sp>
      <p:sp>
        <p:nvSpPr>
          <p:cNvPr id="21" name="Rectangle 20"/>
          <p:cNvSpPr/>
          <p:nvPr/>
        </p:nvSpPr>
        <p:spPr>
          <a:xfrm>
            <a:off x="5849255" y="5555745"/>
            <a:ext cx="3264551" cy="646331"/>
          </a:xfrm>
          <a:prstGeom prst="rect">
            <a:avLst/>
          </a:prstGeom>
        </p:spPr>
        <p:txBody>
          <a:bodyPr wrap="square">
            <a:spAutoFit/>
          </a:bodyPr>
          <a:lstStyle/>
          <a:p>
            <a:r>
              <a:rPr lang="en-US" sz="1200" dirty="0" smtClean="0">
                <a:solidFill>
                  <a:prstClr val="black"/>
                </a:solidFill>
                <a:latin typeface="Calibri"/>
              </a:rPr>
              <a:t>Systems </a:t>
            </a:r>
            <a:r>
              <a:rPr lang="en-US" sz="1200" dirty="0">
                <a:solidFill>
                  <a:prstClr val="black"/>
                </a:solidFill>
                <a:latin typeface="Calibri"/>
              </a:rPr>
              <a:t>Biology Approach to maximize the value and return from very few and </a:t>
            </a:r>
            <a:r>
              <a:rPr lang="en-US" sz="1200" dirty="0" smtClean="0">
                <a:solidFill>
                  <a:prstClr val="black"/>
                </a:solidFill>
                <a:latin typeface="Calibri"/>
              </a:rPr>
              <a:t>value opportunities </a:t>
            </a:r>
            <a:r>
              <a:rPr lang="en-US" sz="1200" dirty="0">
                <a:solidFill>
                  <a:prstClr val="black"/>
                </a:solidFill>
                <a:latin typeface="Calibri"/>
              </a:rPr>
              <a:t>to fly experiments in space</a:t>
            </a:r>
          </a:p>
        </p:txBody>
      </p:sp>
      <p:sp>
        <p:nvSpPr>
          <p:cNvPr id="22" name="Striped Right Arrow 21"/>
          <p:cNvSpPr/>
          <p:nvPr/>
        </p:nvSpPr>
        <p:spPr>
          <a:xfrm>
            <a:off x="1712685" y="1835241"/>
            <a:ext cx="651515" cy="524402"/>
          </a:xfrm>
          <a:prstGeom prst="stripedRightArrow">
            <a:avLst/>
          </a:prstGeom>
          <a:solidFill>
            <a:schemeClr val="accent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23" name="Striped Right Arrow 22"/>
          <p:cNvSpPr/>
          <p:nvPr/>
        </p:nvSpPr>
        <p:spPr>
          <a:xfrm rot="10800000">
            <a:off x="6494276" y="1841678"/>
            <a:ext cx="651515" cy="524402"/>
          </a:xfrm>
          <a:prstGeom prst="stripedRightArrow">
            <a:avLst/>
          </a:prstGeom>
          <a:solidFill>
            <a:srgbClr val="0066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24" name="Striped Right Arrow 23"/>
          <p:cNvSpPr/>
          <p:nvPr/>
        </p:nvSpPr>
        <p:spPr>
          <a:xfrm rot="18881239">
            <a:off x="3237746" y="5059947"/>
            <a:ext cx="651515" cy="524402"/>
          </a:xfrm>
          <a:prstGeom prst="stripedRightArrow">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25" name="Striped Right Arrow 24"/>
          <p:cNvSpPr/>
          <p:nvPr/>
        </p:nvSpPr>
        <p:spPr>
          <a:xfrm rot="13196655">
            <a:off x="5288530" y="5041131"/>
            <a:ext cx="651515" cy="524402"/>
          </a:xfrm>
          <a:prstGeom prst="stripedRightArrow">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a:endParaRPr>
          </a:p>
        </p:txBody>
      </p:sp>
      <p:pic>
        <p:nvPicPr>
          <p:cNvPr id="26" name="Picture 25"/>
          <p:cNvPicPr>
            <a:picLocks noChangeAspect="1"/>
          </p:cNvPicPr>
          <p:nvPr/>
        </p:nvPicPr>
        <p:blipFill>
          <a:blip r:embed="rId2"/>
          <a:stretch>
            <a:fillRect/>
          </a:stretch>
        </p:blipFill>
        <p:spPr>
          <a:xfrm>
            <a:off x="16873" y="0"/>
            <a:ext cx="3523095" cy="644690"/>
          </a:xfrm>
          <a:prstGeom prst="rect">
            <a:avLst/>
          </a:prstGeom>
        </p:spPr>
      </p:pic>
      <p:sp>
        <p:nvSpPr>
          <p:cNvPr id="29" name="Date Placeholder 3"/>
          <p:cNvSpPr>
            <a:spLocks noGrp="1"/>
          </p:cNvSpPr>
          <p:nvPr>
            <p:ph type="dt" sz="half" idx="10"/>
          </p:nvPr>
        </p:nvSpPr>
        <p:spPr>
          <a:xfrm>
            <a:off x="487440" y="6433831"/>
            <a:ext cx="2133600" cy="365125"/>
          </a:xfrm>
          <a:prstGeom prst="rect">
            <a:avLst/>
          </a:prstGeom>
        </p:spPr>
        <p:txBody>
          <a:bodyPr anchor="ctr"/>
          <a:lstStyle>
            <a:lvl1pPr>
              <a:defRPr sz="1400" b="1">
                <a:latin typeface="Arial"/>
                <a:cs typeface="Arial"/>
              </a:defRPr>
            </a:lvl1pPr>
          </a:lstStyle>
          <a:p>
            <a:r>
              <a:rPr lang="en-US" smtClean="0">
                <a:solidFill>
                  <a:prstClr val="black"/>
                </a:solidFill>
              </a:rPr>
              <a:t>14 January 2016</a:t>
            </a:r>
            <a:endParaRPr lang="en-US" dirty="0">
              <a:solidFill>
                <a:prstClr val="black"/>
              </a:solidFill>
            </a:endParaRPr>
          </a:p>
        </p:txBody>
      </p:sp>
      <p:sp>
        <p:nvSpPr>
          <p:cNvPr id="30" name="Footer Placeholder 4"/>
          <p:cNvSpPr>
            <a:spLocks noGrp="1"/>
          </p:cNvSpPr>
          <p:nvPr>
            <p:ph type="ftr" sz="quarter" idx="11"/>
          </p:nvPr>
        </p:nvSpPr>
        <p:spPr>
          <a:xfrm>
            <a:off x="2811452" y="6433831"/>
            <a:ext cx="5024720" cy="365125"/>
          </a:xfrm>
        </p:spPr>
        <p:txBody>
          <a:bodyPr/>
          <a:lstStyle>
            <a:lvl1pPr>
              <a:defRPr sz="1400" b="1">
                <a:latin typeface="Arial"/>
                <a:cs typeface="Arial"/>
              </a:defRPr>
            </a:lvl1pPr>
          </a:lstStyle>
          <a:p>
            <a:pPr algn="l"/>
            <a:r>
              <a:rPr lang="en-US" dirty="0">
                <a:solidFill>
                  <a:schemeClr val="tx1"/>
                </a:solidFill>
              </a:rPr>
              <a:t>Collaborative Life Sciences Data </a:t>
            </a:r>
            <a:r>
              <a:rPr lang="en-US" dirty="0" smtClean="0">
                <a:solidFill>
                  <a:schemeClr val="tx1"/>
                </a:solidFill>
              </a:rPr>
              <a:t>TEM </a:t>
            </a:r>
            <a:r>
              <a:rPr lang="en-US" dirty="0" smtClean="0">
                <a:solidFill>
                  <a:srgbClr val="000000"/>
                </a:solidFill>
              </a:rPr>
              <a:t>| Michael Skidmore                      </a:t>
            </a:r>
            <a:endParaRPr lang="en-US" dirty="0">
              <a:solidFill>
                <a:srgbClr val="000000"/>
              </a:solidFill>
            </a:endParaRPr>
          </a:p>
        </p:txBody>
      </p:sp>
      <p:sp>
        <p:nvSpPr>
          <p:cNvPr id="31" name="Slide Number Placeholder 1"/>
          <p:cNvSpPr>
            <a:spLocks noGrp="1"/>
          </p:cNvSpPr>
          <p:nvPr>
            <p:ph type="sldNum" sz="quarter" idx="12"/>
          </p:nvPr>
        </p:nvSpPr>
        <p:spPr>
          <a:xfrm>
            <a:off x="7786154" y="6433831"/>
            <a:ext cx="1085865" cy="365125"/>
          </a:xfrm>
        </p:spPr>
        <p:txBody>
          <a:bodyPr/>
          <a:lstStyle/>
          <a:p>
            <a:fld id="{ACB3FC3A-BC2E-574C-8636-F1DF04588B6F}" type="slidenum">
              <a:rPr lang="en-US" sz="1400" b="1" smtClean="0">
                <a:solidFill>
                  <a:srgbClr val="000000"/>
                </a:solidFill>
                <a:latin typeface="Arial"/>
                <a:cs typeface="Arial"/>
              </a:rPr>
              <a:pPr/>
              <a:t>16</a:t>
            </a:fld>
            <a:endParaRPr lang="en-US" sz="1400" b="1" dirty="0">
              <a:solidFill>
                <a:srgbClr val="000000"/>
              </a:solidFill>
              <a:latin typeface="Arial"/>
              <a:cs typeface="Arial"/>
            </a:endParaRPr>
          </a:p>
        </p:txBody>
      </p:sp>
    </p:spTree>
    <p:extLst>
      <p:ext uri="{BB962C8B-B14F-4D97-AF65-F5344CB8AC3E}">
        <p14:creationId xmlns:p14="http://schemas.microsoft.com/office/powerpoint/2010/main" val="734403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fade">
                                      <p:cBhvr>
                                        <p:cTn id="18" dur="500"/>
                                        <p:tgtEl>
                                          <p:spTgt spid="2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500"/>
                                        <p:tgtEl>
                                          <p:spTgt spid="16"/>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fade">
                                      <p:cBhvr>
                                        <p:cTn id="26" dur="500"/>
                                        <p:tgtEl>
                                          <p:spTgt spid="19"/>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fade">
                                      <p:cBhvr>
                                        <p:cTn id="35" dur="500"/>
                                        <p:tgtEl>
                                          <p:spTgt spid="21"/>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fade">
                                      <p:cBhvr>
                                        <p:cTn id="38"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8" grpId="0"/>
      <p:bldP spid="19" grpId="0"/>
      <p:bldP spid="20" grpId="0"/>
      <p:bldP spid="21" grpId="0"/>
      <p:bldP spid="22" grpId="0" animBg="1"/>
      <p:bldP spid="23" grpId="0" animBg="1"/>
      <p:bldP spid="24" grpId="0" animBg="1"/>
      <p:bldP spid="2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251273" y="141599"/>
            <a:ext cx="1095963" cy="1909283"/>
          </a:xfrm>
          <a:prstGeom prst="rect">
            <a:avLst/>
          </a:prstGeom>
        </p:spPr>
      </p:pic>
      <p:sp>
        <p:nvSpPr>
          <p:cNvPr id="6" name="TextBox 5"/>
          <p:cNvSpPr txBox="1"/>
          <p:nvPr/>
        </p:nvSpPr>
        <p:spPr>
          <a:xfrm>
            <a:off x="2878996" y="2711302"/>
            <a:ext cx="2876909" cy="584776"/>
          </a:xfrm>
          <a:prstGeom prst="rect">
            <a:avLst/>
          </a:prstGeom>
          <a:noFill/>
        </p:spPr>
        <p:txBody>
          <a:bodyPr wrap="none" rtlCol="0">
            <a:spAutoFit/>
          </a:bodyPr>
          <a:lstStyle/>
          <a:p>
            <a:r>
              <a:rPr lang="en-US" sz="3200" dirty="0" smtClean="0">
                <a:solidFill>
                  <a:prstClr val="black"/>
                </a:solidFill>
                <a:latin typeface="Calibri"/>
              </a:rPr>
              <a:t>BACK-UP SLIDES</a:t>
            </a:r>
            <a:endParaRPr lang="en-US" sz="3200" dirty="0">
              <a:solidFill>
                <a:prstClr val="black"/>
              </a:solidFill>
              <a:latin typeface="Calibri"/>
            </a:endParaRPr>
          </a:p>
        </p:txBody>
      </p:sp>
      <p:sp>
        <p:nvSpPr>
          <p:cNvPr id="7" name="Date Placeholder 3"/>
          <p:cNvSpPr>
            <a:spLocks noGrp="1"/>
          </p:cNvSpPr>
          <p:nvPr>
            <p:ph type="dt" sz="half" idx="10"/>
          </p:nvPr>
        </p:nvSpPr>
        <p:spPr>
          <a:xfrm>
            <a:off x="487440" y="6433831"/>
            <a:ext cx="2133600" cy="365125"/>
          </a:xfrm>
          <a:prstGeom prst="rect">
            <a:avLst/>
          </a:prstGeom>
        </p:spPr>
        <p:txBody>
          <a:bodyPr anchor="ctr"/>
          <a:lstStyle>
            <a:lvl1pPr>
              <a:defRPr sz="1400" b="1">
                <a:latin typeface="Arial"/>
                <a:cs typeface="Arial"/>
              </a:defRPr>
            </a:lvl1pPr>
          </a:lstStyle>
          <a:p>
            <a:r>
              <a:rPr lang="en-US" smtClean="0">
                <a:solidFill>
                  <a:prstClr val="black"/>
                </a:solidFill>
              </a:rPr>
              <a:t>14 January 2016</a:t>
            </a:r>
            <a:endParaRPr lang="en-US" dirty="0">
              <a:solidFill>
                <a:prstClr val="black"/>
              </a:solidFill>
            </a:endParaRPr>
          </a:p>
        </p:txBody>
      </p:sp>
      <p:sp>
        <p:nvSpPr>
          <p:cNvPr id="8" name="Footer Placeholder 4"/>
          <p:cNvSpPr>
            <a:spLocks noGrp="1"/>
          </p:cNvSpPr>
          <p:nvPr>
            <p:ph type="ftr" sz="quarter" idx="11"/>
          </p:nvPr>
        </p:nvSpPr>
        <p:spPr>
          <a:xfrm>
            <a:off x="2811452" y="6433831"/>
            <a:ext cx="5024720" cy="365125"/>
          </a:xfrm>
        </p:spPr>
        <p:txBody>
          <a:bodyPr/>
          <a:lstStyle>
            <a:lvl1pPr>
              <a:defRPr sz="1400" b="1">
                <a:latin typeface="Arial"/>
                <a:cs typeface="Arial"/>
              </a:defRPr>
            </a:lvl1pPr>
          </a:lstStyle>
          <a:p>
            <a:pPr algn="l"/>
            <a:r>
              <a:rPr lang="en-US" dirty="0">
                <a:solidFill>
                  <a:schemeClr val="tx1"/>
                </a:solidFill>
              </a:rPr>
              <a:t>Collaborative Life Sciences Data </a:t>
            </a:r>
            <a:r>
              <a:rPr lang="en-US" dirty="0" smtClean="0">
                <a:solidFill>
                  <a:schemeClr val="tx1"/>
                </a:solidFill>
              </a:rPr>
              <a:t>TEM </a:t>
            </a:r>
            <a:r>
              <a:rPr lang="en-US" dirty="0" smtClean="0">
                <a:solidFill>
                  <a:srgbClr val="000000"/>
                </a:solidFill>
              </a:rPr>
              <a:t>| Michael Skidmore                      </a:t>
            </a:r>
            <a:endParaRPr lang="en-US" dirty="0">
              <a:solidFill>
                <a:srgbClr val="000000"/>
              </a:solidFill>
            </a:endParaRPr>
          </a:p>
        </p:txBody>
      </p:sp>
      <p:sp>
        <p:nvSpPr>
          <p:cNvPr id="11" name="Slide Number Placeholder 1"/>
          <p:cNvSpPr>
            <a:spLocks noGrp="1"/>
          </p:cNvSpPr>
          <p:nvPr>
            <p:ph type="sldNum" sz="quarter" idx="12"/>
          </p:nvPr>
        </p:nvSpPr>
        <p:spPr>
          <a:xfrm>
            <a:off x="7786154" y="6433831"/>
            <a:ext cx="1085865" cy="365125"/>
          </a:xfrm>
        </p:spPr>
        <p:txBody>
          <a:bodyPr/>
          <a:lstStyle/>
          <a:p>
            <a:fld id="{ACB3FC3A-BC2E-574C-8636-F1DF04588B6F}" type="slidenum">
              <a:rPr lang="en-US" sz="1400" b="1" smtClean="0">
                <a:solidFill>
                  <a:srgbClr val="000000"/>
                </a:solidFill>
                <a:latin typeface="Arial"/>
                <a:cs typeface="Arial"/>
              </a:rPr>
              <a:pPr/>
              <a:t>17</a:t>
            </a:fld>
            <a:endParaRPr lang="en-US" sz="1400" b="1" dirty="0">
              <a:solidFill>
                <a:srgbClr val="000000"/>
              </a:solidFill>
              <a:latin typeface="Arial"/>
              <a:cs typeface="Arial"/>
            </a:endParaRPr>
          </a:p>
        </p:txBody>
      </p:sp>
    </p:spTree>
    <p:extLst>
      <p:ext uri="{BB962C8B-B14F-4D97-AF65-F5344CB8AC3E}">
        <p14:creationId xmlns:p14="http://schemas.microsoft.com/office/powerpoint/2010/main" val="76098710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2648174" y="804534"/>
            <a:ext cx="3152674" cy="4331575"/>
          </a:xfrm>
          <a:prstGeom prst="roundRect">
            <a:avLst/>
          </a:prstGeom>
          <a:solidFill>
            <a:schemeClr val="accent3">
              <a:lumMod val="40000"/>
              <a:lumOff val="60000"/>
            </a:schemeClr>
          </a:solidFill>
          <a:ln>
            <a:solidFill>
              <a:schemeClr val="accent3">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41" name="Cube 40"/>
          <p:cNvSpPr/>
          <p:nvPr/>
        </p:nvSpPr>
        <p:spPr>
          <a:xfrm>
            <a:off x="3616326" y="3607986"/>
            <a:ext cx="1094673" cy="474839"/>
          </a:xfrm>
          <a:prstGeom prst="cube">
            <a:avLst/>
          </a:prstGeom>
          <a:solidFill>
            <a:schemeClr val="bg1">
              <a:lumMod val="8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rgbClr val="000000"/>
                </a:solidFill>
                <a:latin typeface="Calibri"/>
              </a:rPr>
              <a:t>Metadata</a:t>
            </a:r>
            <a:endParaRPr lang="en-US" sz="1200" b="1" dirty="0">
              <a:solidFill>
                <a:srgbClr val="000000"/>
              </a:solidFill>
              <a:latin typeface="Calibri"/>
            </a:endParaRPr>
          </a:p>
        </p:txBody>
      </p:sp>
      <p:sp>
        <p:nvSpPr>
          <p:cNvPr id="5" name="Rounded Rectangle 4"/>
          <p:cNvSpPr/>
          <p:nvPr/>
        </p:nvSpPr>
        <p:spPr>
          <a:xfrm>
            <a:off x="5800848" y="824966"/>
            <a:ext cx="3159170" cy="5882996"/>
          </a:xfrm>
          <a:prstGeom prst="roundRect">
            <a:avLst/>
          </a:prstGeom>
          <a:solidFill>
            <a:schemeClr val="accent3">
              <a:lumMod val="40000"/>
              <a:lumOff val="60000"/>
            </a:schemeClr>
          </a:solidFill>
          <a:ln w="38100" cmpd="sng">
            <a:solidFill>
              <a:schemeClr val="accent3">
                <a:lumMod val="75000"/>
              </a:schemeClr>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6" name="TextBox 5"/>
          <p:cNvSpPr txBox="1"/>
          <p:nvPr/>
        </p:nvSpPr>
        <p:spPr>
          <a:xfrm>
            <a:off x="3201443" y="913648"/>
            <a:ext cx="1954381" cy="369332"/>
          </a:xfrm>
          <a:prstGeom prst="rect">
            <a:avLst/>
          </a:prstGeom>
          <a:noFill/>
        </p:spPr>
        <p:txBody>
          <a:bodyPr wrap="none" rtlCol="0">
            <a:spAutoFit/>
          </a:bodyPr>
          <a:lstStyle/>
          <a:p>
            <a:r>
              <a:rPr lang="en-US" b="1" u="sng" dirty="0" smtClean="0">
                <a:solidFill>
                  <a:prstClr val="black"/>
                </a:solidFill>
                <a:latin typeface="Calibri"/>
              </a:rPr>
              <a:t>GLDS REPOSITORY</a:t>
            </a:r>
            <a:endParaRPr lang="en-US" b="1" u="sng" dirty="0">
              <a:solidFill>
                <a:prstClr val="black"/>
              </a:solidFill>
              <a:latin typeface="Calibri"/>
            </a:endParaRPr>
          </a:p>
        </p:txBody>
      </p:sp>
      <p:sp>
        <p:nvSpPr>
          <p:cNvPr id="7" name="TextBox 6"/>
          <p:cNvSpPr txBox="1"/>
          <p:nvPr/>
        </p:nvSpPr>
        <p:spPr>
          <a:xfrm>
            <a:off x="5896337" y="913648"/>
            <a:ext cx="3033440" cy="369332"/>
          </a:xfrm>
          <a:prstGeom prst="rect">
            <a:avLst/>
          </a:prstGeom>
          <a:noFill/>
        </p:spPr>
        <p:txBody>
          <a:bodyPr wrap="none" rtlCol="0">
            <a:spAutoFit/>
          </a:bodyPr>
          <a:lstStyle/>
          <a:p>
            <a:r>
              <a:rPr lang="en-US" b="1" u="sng" dirty="0" smtClean="0">
                <a:solidFill>
                  <a:prstClr val="black"/>
                </a:solidFill>
                <a:latin typeface="Calibri"/>
              </a:rPr>
              <a:t>ANALYSIS &amp; COLLABORATION </a:t>
            </a:r>
          </a:p>
        </p:txBody>
      </p:sp>
      <p:sp>
        <p:nvSpPr>
          <p:cNvPr id="32" name="Rounded Rectangle 31"/>
          <p:cNvSpPr/>
          <p:nvPr/>
        </p:nvSpPr>
        <p:spPr>
          <a:xfrm>
            <a:off x="2648174" y="5249289"/>
            <a:ext cx="3077234" cy="1458672"/>
          </a:xfrm>
          <a:prstGeom prst="roundRect">
            <a:avLst/>
          </a:prstGeom>
          <a:solidFill>
            <a:schemeClr val="accent4">
              <a:lumMod val="40000"/>
              <a:lumOff val="60000"/>
            </a:schemeClr>
          </a:solidFill>
          <a:ln w="38100" cmpd="sng">
            <a:solidFill>
              <a:schemeClr val="accent4">
                <a:lumMod val="75000"/>
              </a:schemeClr>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38" name="Cube 37"/>
          <p:cNvSpPr/>
          <p:nvPr/>
        </p:nvSpPr>
        <p:spPr>
          <a:xfrm>
            <a:off x="3616326" y="3230742"/>
            <a:ext cx="1094673" cy="474839"/>
          </a:xfrm>
          <a:prstGeom prst="cube">
            <a:avLst/>
          </a:prstGeom>
          <a:solidFill>
            <a:schemeClr val="bg1">
              <a:lumMod val="8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rgbClr val="C0504D"/>
                </a:solidFill>
                <a:latin typeface="Calibri"/>
              </a:rPr>
              <a:t>Spaceflight metadata</a:t>
            </a:r>
            <a:endParaRPr lang="en-US" sz="1200" b="1" dirty="0">
              <a:solidFill>
                <a:srgbClr val="C0504D"/>
              </a:solidFill>
              <a:latin typeface="Calibri"/>
            </a:endParaRPr>
          </a:p>
        </p:txBody>
      </p:sp>
      <p:sp>
        <p:nvSpPr>
          <p:cNvPr id="40" name="Cube 39"/>
          <p:cNvSpPr/>
          <p:nvPr/>
        </p:nvSpPr>
        <p:spPr>
          <a:xfrm>
            <a:off x="3616326" y="2846564"/>
            <a:ext cx="1094673" cy="474839"/>
          </a:xfrm>
          <a:prstGeom prst="cube">
            <a:avLst/>
          </a:prstGeom>
          <a:solidFill>
            <a:schemeClr val="bg1">
              <a:lumMod val="7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prstClr val="black"/>
                </a:solidFill>
                <a:latin typeface="Calibri"/>
              </a:rPr>
              <a:t>Data</a:t>
            </a:r>
            <a:endParaRPr lang="en-US" sz="1200" b="1" dirty="0">
              <a:solidFill>
                <a:prstClr val="black"/>
              </a:solidFill>
              <a:latin typeface="Calibri"/>
            </a:endParaRPr>
          </a:p>
        </p:txBody>
      </p:sp>
      <p:sp>
        <p:nvSpPr>
          <p:cNvPr id="42" name="Rounded Rectangle 41"/>
          <p:cNvSpPr/>
          <p:nvPr/>
        </p:nvSpPr>
        <p:spPr>
          <a:xfrm>
            <a:off x="2848552" y="1432781"/>
            <a:ext cx="1082109" cy="602307"/>
          </a:xfrm>
          <a:prstGeom prst="roundRect">
            <a:avLst/>
          </a:prstGeom>
          <a:solidFill>
            <a:srgbClr val="9BBB59"/>
          </a:solidFill>
          <a:ln>
            <a:solidFill>
              <a:schemeClr val="accent3">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solidFill>
                  <a:prstClr val="black"/>
                </a:solidFill>
                <a:latin typeface="Calibri"/>
              </a:rPr>
              <a:t>DATA </a:t>
            </a:r>
          </a:p>
          <a:p>
            <a:pPr algn="ctr"/>
            <a:r>
              <a:rPr lang="en-US" sz="1400" b="1" dirty="0" smtClean="0">
                <a:solidFill>
                  <a:prstClr val="black"/>
                </a:solidFill>
                <a:latin typeface="Calibri"/>
              </a:rPr>
              <a:t>DISCOVERY</a:t>
            </a:r>
            <a:endParaRPr lang="en-US" sz="1400" b="1" dirty="0">
              <a:solidFill>
                <a:prstClr val="black"/>
              </a:solidFill>
              <a:latin typeface="Calibri"/>
            </a:endParaRPr>
          </a:p>
        </p:txBody>
      </p:sp>
      <p:sp>
        <p:nvSpPr>
          <p:cNvPr id="43" name="Rounded Rectangle 42"/>
          <p:cNvSpPr/>
          <p:nvPr/>
        </p:nvSpPr>
        <p:spPr>
          <a:xfrm>
            <a:off x="4485401" y="1445356"/>
            <a:ext cx="1082109" cy="602307"/>
          </a:xfrm>
          <a:prstGeom prst="roundRect">
            <a:avLst/>
          </a:prstGeom>
          <a:solidFill>
            <a:srgbClr val="9BBB59"/>
          </a:solidFill>
          <a:ln>
            <a:solidFill>
              <a:schemeClr val="accent3">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solidFill>
                  <a:prstClr val="black"/>
                </a:solidFill>
                <a:latin typeface="Calibri"/>
              </a:rPr>
              <a:t>DATA </a:t>
            </a:r>
          </a:p>
          <a:p>
            <a:pPr algn="ctr"/>
            <a:r>
              <a:rPr lang="en-US" sz="1400" b="1" dirty="0" smtClean="0">
                <a:solidFill>
                  <a:prstClr val="black"/>
                </a:solidFill>
                <a:latin typeface="Calibri"/>
              </a:rPr>
              <a:t>ACCESS</a:t>
            </a:r>
            <a:endParaRPr lang="en-US" sz="1400" b="1" dirty="0">
              <a:solidFill>
                <a:prstClr val="black"/>
              </a:solidFill>
              <a:latin typeface="Calibri"/>
            </a:endParaRPr>
          </a:p>
        </p:txBody>
      </p:sp>
      <p:sp>
        <p:nvSpPr>
          <p:cNvPr id="44" name="Rounded Rectangle 43"/>
          <p:cNvSpPr/>
          <p:nvPr/>
        </p:nvSpPr>
        <p:spPr>
          <a:xfrm>
            <a:off x="2848552" y="2055632"/>
            <a:ext cx="1082109" cy="855235"/>
          </a:xfrm>
          <a:prstGeom prst="roundRect">
            <a:avLst/>
          </a:prstGeom>
          <a:solidFill>
            <a:srgbClr val="9BBB59"/>
          </a:solidFill>
          <a:ln>
            <a:solidFill>
              <a:schemeClr val="accent3">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prstClr val="white"/>
                </a:solidFill>
                <a:latin typeface="Calibri"/>
              </a:rPr>
              <a:t>Data import</a:t>
            </a:r>
          </a:p>
          <a:p>
            <a:pPr algn="ctr"/>
            <a:endParaRPr lang="en-US" sz="1200" b="1" dirty="0" smtClean="0">
              <a:solidFill>
                <a:prstClr val="white"/>
              </a:solidFill>
              <a:latin typeface="Calibri"/>
            </a:endParaRPr>
          </a:p>
          <a:p>
            <a:pPr algn="ctr"/>
            <a:r>
              <a:rPr lang="en-US" sz="1200" b="1" dirty="0" err="1">
                <a:solidFill>
                  <a:prstClr val="white"/>
                </a:solidFill>
                <a:latin typeface="Calibri"/>
              </a:rPr>
              <a:t>C</a:t>
            </a:r>
            <a:r>
              <a:rPr lang="en-US" sz="1200" b="1" dirty="0" err="1" smtClean="0">
                <a:solidFill>
                  <a:prstClr val="white"/>
                </a:solidFill>
                <a:latin typeface="Calibri"/>
              </a:rPr>
              <a:t>uration</a:t>
            </a:r>
            <a:endParaRPr lang="en-US" sz="1200" b="1" dirty="0" smtClean="0">
              <a:solidFill>
                <a:prstClr val="white"/>
              </a:solidFill>
              <a:latin typeface="Calibri"/>
            </a:endParaRPr>
          </a:p>
        </p:txBody>
      </p:sp>
      <p:sp>
        <p:nvSpPr>
          <p:cNvPr id="45" name="Rounded Rectangle 44"/>
          <p:cNvSpPr/>
          <p:nvPr/>
        </p:nvSpPr>
        <p:spPr>
          <a:xfrm>
            <a:off x="4485362" y="2057411"/>
            <a:ext cx="1082109" cy="853456"/>
          </a:xfrm>
          <a:prstGeom prst="roundRect">
            <a:avLst/>
          </a:prstGeom>
          <a:solidFill>
            <a:srgbClr val="9BBB59"/>
          </a:solidFill>
          <a:ln>
            <a:solidFill>
              <a:schemeClr val="accent3">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prstClr val="white"/>
                </a:solidFill>
                <a:latin typeface="Calibri"/>
              </a:rPr>
              <a:t>B</a:t>
            </a:r>
            <a:r>
              <a:rPr lang="en-US" sz="1400" b="1" dirty="0" smtClean="0">
                <a:solidFill>
                  <a:prstClr val="white"/>
                </a:solidFill>
                <a:latin typeface="Calibri"/>
              </a:rPr>
              <a:t>rowse</a:t>
            </a:r>
          </a:p>
          <a:p>
            <a:pPr algn="ctr"/>
            <a:r>
              <a:rPr lang="en-US" sz="1400" b="1" dirty="0">
                <a:solidFill>
                  <a:prstClr val="white"/>
                </a:solidFill>
                <a:latin typeface="Calibri"/>
              </a:rPr>
              <a:t>S</a:t>
            </a:r>
            <a:r>
              <a:rPr lang="en-US" sz="1400" b="1" dirty="0" smtClean="0">
                <a:solidFill>
                  <a:prstClr val="white"/>
                </a:solidFill>
                <a:latin typeface="Calibri"/>
              </a:rPr>
              <a:t>earch</a:t>
            </a:r>
          </a:p>
          <a:p>
            <a:pPr algn="ctr"/>
            <a:r>
              <a:rPr lang="en-US" sz="1400" b="1" dirty="0">
                <a:solidFill>
                  <a:prstClr val="white"/>
                </a:solidFill>
                <a:latin typeface="Calibri"/>
              </a:rPr>
              <a:t>R</a:t>
            </a:r>
            <a:r>
              <a:rPr lang="en-US" sz="1400" b="1" dirty="0" smtClean="0">
                <a:solidFill>
                  <a:prstClr val="white"/>
                </a:solidFill>
                <a:latin typeface="Calibri"/>
              </a:rPr>
              <a:t>etrieve</a:t>
            </a:r>
            <a:endParaRPr lang="en-US" sz="1400" b="1" dirty="0">
              <a:solidFill>
                <a:prstClr val="white"/>
              </a:solidFill>
              <a:latin typeface="Calibri"/>
            </a:endParaRPr>
          </a:p>
        </p:txBody>
      </p:sp>
      <p:sp>
        <p:nvSpPr>
          <p:cNvPr id="52" name="Cube 51"/>
          <p:cNvSpPr/>
          <p:nvPr/>
        </p:nvSpPr>
        <p:spPr>
          <a:xfrm>
            <a:off x="3529755" y="5755280"/>
            <a:ext cx="1094673" cy="474839"/>
          </a:xfrm>
          <a:prstGeom prst="cube">
            <a:avLst/>
          </a:prstGeom>
          <a:solidFill>
            <a:schemeClr val="bg1">
              <a:lumMod val="8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rgbClr val="000000"/>
                </a:solidFill>
                <a:latin typeface="Calibri"/>
              </a:rPr>
              <a:t>Metadata</a:t>
            </a:r>
            <a:endParaRPr lang="en-US" sz="1200" b="1" dirty="0">
              <a:solidFill>
                <a:srgbClr val="000000"/>
              </a:solidFill>
              <a:latin typeface="Calibri"/>
            </a:endParaRPr>
          </a:p>
        </p:txBody>
      </p:sp>
      <p:sp>
        <p:nvSpPr>
          <p:cNvPr id="53" name="Cube 52"/>
          <p:cNvSpPr/>
          <p:nvPr/>
        </p:nvSpPr>
        <p:spPr>
          <a:xfrm>
            <a:off x="3529755" y="5375606"/>
            <a:ext cx="1094673" cy="474839"/>
          </a:xfrm>
          <a:prstGeom prst="cube">
            <a:avLst/>
          </a:prstGeom>
          <a:solidFill>
            <a:schemeClr val="bg1">
              <a:lumMod val="7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rgbClr val="000000"/>
                </a:solidFill>
                <a:latin typeface="Calibri"/>
              </a:rPr>
              <a:t>Data</a:t>
            </a:r>
            <a:endParaRPr lang="en-US" sz="1200" b="1" dirty="0">
              <a:solidFill>
                <a:srgbClr val="000000"/>
              </a:solidFill>
              <a:latin typeface="Calibri"/>
            </a:endParaRPr>
          </a:p>
        </p:txBody>
      </p:sp>
      <p:cxnSp>
        <p:nvCxnSpPr>
          <p:cNvPr id="54" name="Straight Arrow Connector 53"/>
          <p:cNvCxnSpPr/>
          <p:nvPr/>
        </p:nvCxnSpPr>
        <p:spPr>
          <a:xfrm flipV="1">
            <a:off x="4094833" y="4093036"/>
            <a:ext cx="0" cy="1320296"/>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61" name="Rounded Rectangle 60"/>
          <p:cNvSpPr/>
          <p:nvPr/>
        </p:nvSpPr>
        <p:spPr>
          <a:xfrm>
            <a:off x="3592620" y="4369686"/>
            <a:ext cx="1082109" cy="602307"/>
          </a:xfrm>
          <a:prstGeom prst="roundRect">
            <a:avLst/>
          </a:prstGeom>
          <a:solidFill>
            <a:srgbClr val="9BBB59"/>
          </a:solidFill>
          <a:ln>
            <a:solidFill>
              <a:schemeClr val="accent3">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prstClr val="white"/>
                </a:solidFill>
                <a:latin typeface="Calibri"/>
              </a:rPr>
              <a:t>f</a:t>
            </a:r>
            <a:r>
              <a:rPr lang="en-US" sz="1400" b="1" dirty="0" smtClean="0">
                <a:solidFill>
                  <a:prstClr val="white"/>
                </a:solidFill>
                <a:latin typeface="Calibri"/>
              </a:rPr>
              <a:t>ederation</a:t>
            </a:r>
          </a:p>
        </p:txBody>
      </p:sp>
      <p:sp>
        <p:nvSpPr>
          <p:cNvPr id="63" name="Rounded Rectangle 62"/>
          <p:cNvSpPr/>
          <p:nvPr/>
        </p:nvSpPr>
        <p:spPr>
          <a:xfrm>
            <a:off x="6586681" y="1420206"/>
            <a:ext cx="1606402" cy="602307"/>
          </a:xfrm>
          <a:prstGeom prst="roundRect">
            <a:avLst/>
          </a:prstGeom>
          <a:solidFill>
            <a:schemeClr val="accent3"/>
          </a:solidFill>
          <a:ln>
            <a:solidFill>
              <a:srgbClr val="77933C"/>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solidFill>
                  <a:prstClr val="black"/>
                </a:solidFill>
                <a:latin typeface="Calibri"/>
              </a:rPr>
              <a:t>WORKSPACE</a:t>
            </a:r>
          </a:p>
          <a:p>
            <a:pPr algn="ctr"/>
            <a:r>
              <a:rPr lang="en-US" sz="1400" b="1" dirty="0" smtClean="0">
                <a:solidFill>
                  <a:prstClr val="white"/>
                </a:solidFill>
                <a:latin typeface="Calibri"/>
              </a:rPr>
              <a:t>DATA &amp; RESULTS</a:t>
            </a:r>
            <a:endParaRPr lang="en-US" sz="1400" b="1" dirty="0">
              <a:solidFill>
                <a:prstClr val="white"/>
              </a:solidFill>
              <a:latin typeface="Calibri"/>
            </a:endParaRPr>
          </a:p>
        </p:txBody>
      </p:sp>
      <p:sp>
        <p:nvSpPr>
          <p:cNvPr id="64" name="Rounded Rectangle 63"/>
          <p:cNvSpPr/>
          <p:nvPr/>
        </p:nvSpPr>
        <p:spPr>
          <a:xfrm>
            <a:off x="6014589" y="2043056"/>
            <a:ext cx="1362730" cy="1385875"/>
          </a:xfrm>
          <a:prstGeom prst="roundRect">
            <a:avLst/>
          </a:prstGeom>
          <a:solidFill>
            <a:schemeClr val="accent3">
              <a:lumMod val="60000"/>
              <a:lumOff val="40000"/>
            </a:schemeClr>
          </a:solidFill>
          <a:ln>
            <a:solidFill>
              <a:srgbClr val="77933C"/>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b="1" dirty="0" smtClean="0">
              <a:solidFill>
                <a:srgbClr val="000000"/>
              </a:solidFill>
              <a:latin typeface="Calibri"/>
            </a:endParaRPr>
          </a:p>
          <a:p>
            <a:pPr algn="ctr"/>
            <a:r>
              <a:rPr lang="en-US" sz="1400" b="1" dirty="0" smtClean="0">
                <a:solidFill>
                  <a:srgbClr val="000000"/>
                </a:solidFill>
                <a:latin typeface="Calibri"/>
              </a:rPr>
              <a:t>Registered </a:t>
            </a:r>
          </a:p>
          <a:p>
            <a:pPr algn="ctr"/>
            <a:r>
              <a:rPr lang="en-US" sz="1400" b="1" dirty="0">
                <a:solidFill>
                  <a:srgbClr val="000000"/>
                </a:solidFill>
                <a:latin typeface="Calibri"/>
              </a:rPr>
              <a:t>U</a:t>
            </a:r>
            <a:r>
              <a:rPr lang="en-US" sz="1400" b="1" dirty="0" smtClean="0">
                <a:solidFill>
                  <a:srgbClr val="000000"/>
                </a:solidFill>
                <a:latin typeface="Calibri"/>
              </a:rPr>
              <a:t>ser </a:t>
            </a:r>
            <a:r>
              <a:rPr lang="en-US" sz="1400" b="1" dirty="0">
                <a:solidFill>
                  <a:srgbClr val="000000"/>
                </a:solidFill>
                <a:latin typeface="Calibri"/>
              </a:rPr>
              <a:t>A</a:t>
            </a:r>
            <a:r>
              <a:rPr lang="en-US" sz="1400" b="1" dirty="0" smtClean="0">
                <a:solidFill>
                  <a:srgbClr val="000000"/>
                </a:solidFill>
                <a:latin typeface="Calibri"/>
              </a:rPr>
              <a:t>ccount</a:t>
            </a:r>
          </a:p>
          <a:p>
            <a:pPr algn="ctr"/>
            <a:endParaRPr lang="en-US" sz="1400" b="1" dirty="0">
              <a:solidFill>
                <a:srgbClr val="000000"/>
              </a:solidFill>
              <a:latin typeface="Calibri"/>
            </a:endParaRPr>
          </a:p>
          <a:p>
            <a:pPr algn="ctr"/>
            <a:endParaRPr lang="en-US" sz="1400" b="1" dirty="0">
              <a:solidFill>
                <a:srgbClr val="000000"/>
              </a:solidFill>
              <a:latin typeface="Calibri"/>
            </a:endParaRPr>
          </a:p>
          <a:p>
            <a:pPr algn="ctr"/>
            <a:endParaRPr lang="en-US" sz="1400" b="1" dirty="0" smtClean="0">
              <a:solidFill>
                <a:srgbClr val="000000"/>
              </a:solidFill>
              <a:latin typeface="Calibri"/>
            </a:endParaRPr>
          </a:p>
          <a:p>
            <a:pPr algn="ctr"/>
            <a:endParaRPr lang="en-US" sz="1400" b="1" dirty="0">
              <a:solidFill>
                <a:srgbClr val="000000"/>
              </a:solidFill>
              <a:latin typeface="Calibri"/>
            </a:endParaRPr>
          </a:p>
          <a:p>
            <a:pPr algn="ctr"/>
            <a:endParaRPr lang="en-US" sz="1400" b="1" dirty="0">
              <a:solidFill>
                <a:srgbClr val="000000"/>
              </a:solidFill>
              <a:latin typeface="Calibri"/>
            </a:endParaRPr>
          </a:p>
        </p:txBody>
      </p:sp>
      <p:sp>
        <p:nvSpPr>
          <p:cNvPr id="65" name="Rounded Rectangle 64"/>
          <p:cNvSpPr/>
          <p:nvPr/>
        </p:nvSpPr>
        <p:spPr>
          <a:xfrm>
            <a:off x="7377318" y="2033117"/>
            <a:ext cx="1406704" cy="1395814"/>
          </a:xfrm>
          <a:prstGeom prst="roundRect">
            <a:avLst/>
          </a:prstGeom>
          <a:solidFill>
            <a:schemeClr val="accent3">
              <a:lumMod val="60000"/>
              <a:lumOff val="40000"/>
            </a:schemeClr>
          </a:solidFill>
          <a:ln>
            <a:solidFill>
              <a:srgbClr val="77933C"/>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solidFill>
                  <a:srgbClr val="000000"/>
                </a:solidFill>
                <a:latin typeface="Calibri"/>
              </a:rPr>
              <a:t> Collaborative </a:t>
            </a:r>
            <a:r>
              <a:rPr lang="en-US" sz="1400" b="1" dirty="0">
                <a:solidFill>
                  <a:srgbClr val="000000"/>
                </a:solidFill>
                <a:latin typeface="Calibri"/>
              </a:rPr>
              <a:t>Space</a:t>
            </a:r>
          </a:p>
          <a:p>
            <a:pPr algn="ctr"/>
            <a:endParaRPr lang="en-US" sz="1400" b="1" dirty="0">
              <a:solidFill>
                <a:srgbClr val="000000"/>
              </a:solidFill>
              <a:latin typeface="Calibri"/>
            </a:endParaRPr>
          </a:p>
          <a:p>
            <a:pPr algn="ctr"/>
            <a:endParaRPr lang="en-US" sz="1400" b="1" dirty="0" smtClean="0">
              <a:solidFill>
                <a:srgbClr val="000000"/>
              </a:solidFill>
              <a:latin typeface="Calibri"/>
            </a:endParaRPr>
          </a:p>
          <a:p>
            <a:pPr algn="ctr"/>
            <a:endParaRPr lang="en-US" sz="1400" b="1" dirty="0">
              <a:solidFill>
                <a:srgbClr val="000000"/>
              </a:solidFill>
              <a:latin typeface="Calibri"/>
            </a:endParaRPr>
          </a:p>
          <a:p>
            <a:pPr algn="ctr"/>
            <a:endParaRPr lang="en-US" sz="1400" b="1" dirty="0" smtClean="0">
              <a:solidFill>
                <a:srgbClr val="000000"/>
              </a:solidFill>
              <a:latin typeface="Calibri"/>
            </a:endParaRPr>
          </a:p>
        </p:txBody>
      </p:sp>
      <p:sp>
        <p:nvSpPr>
          <p:cNvPr id="67" name="Cube 66"/>
          <p:cNvSpPr/>
          <p:nvPr/>
        </p:nvSpPr>
        <p:spPr>
          <a:xfrm>
            <a:off x="6430958" y="2557982"/>
            <a:ext cx="386880" cy="137463"/>
          </a:xfrm>
          <a:prstGeom prst="cube">
            <a:avLst/>
          </a:prstGeom>
          <a:solidFill>
            <a:srgbClr val="BFBFBF"/>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solidFill>
                <a:prstClr val="white"/>
              </a:solidFill>
              <a:latin typeface="Calibri"/>
            </a:endParaRPr>
          </a:p>
        </p:txBody>
      </p:sp>
      <p:sp>
        <p:nvSpPr>
          <p:cNvPr id="69" name="Cube 68"/>
          <p:cNvSpPr/>
          <p:nvPr/>
        </p:nvSpPr>
        <p:spPr>
          <a:xfrm>
            <a:off x="6430958" y="2987670"/>
            <a:ext cx="386880" cy="137463"/>
          </a:xfrm>
          <a:prstGeom prst="cube">
            <a:avLst/>
          </a:prstGeom>
          <a:solidFill>
            <a:srgbClr val="BFBFBF"/>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solidFill>
                <a:prstClr val="white"/>
              </a:solidFill>
              <a:latin typeface="Calibri"/>
            </a:endParaRPr>
          </a:p>
        </p:txBody>
      </p:sp>
      <p:sp>
        <p:nvSpPr>
          <p:cNvPr id="70" name="Cube 69"/>
          <p:cNvSpPr/>
          <p:nvPr/>
        </p:nvSpPr>
        <p:spPr>
          <a:xfrm>
            <a:off x="6430958" y="3197237"/>
            <a:ext cx="386880" cy="137463"/>
          </a:xfrm>
          <a:prstGeom prst="cube">
            <a:avLst/>
          </a:prstGeom>
          <a:solidFill>
            <a:srgbClr val="BFBFBF"/>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solidFill>
                <a:prstClr val="white"/>
              </a:solidFill>
              <a:latin typeface="Calibri"/>
            </a:endParaRPr>
          </a:p>
        </p:txBody>
      </p:sp>
      <p:sp>
        <p:nvSpPr>
          <p:cNvPr id="71" name="Cube 70"/>
          <p:cNvSpPr/>
          <p:nvPr/>
        </p:nvSpPr>
        <p:spPr>
          <a:xfrm>
            <a:off x="6430958" y="2772185"/>
            <a:ext cx="386880" cy="137463"/>
          </a:xfrm>
          <a:prstGeom prst="cube">
            <a:avLst/>
          </a:prstGeom>
          <a:solidFill>
            <a:srgbClr val="BFBFBF"/>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solidFill>
                <a:prstClr val="white"/>
              </a:solidFill>
              <a:latin typeface="Calibri"/>
            </a:endParaRPr>
          </a:p>
        </p:txBody>
      </p:sp>
      <p:sp>
        <p:nvSpPr>
          <p:cNvPr id="72" name="Cube 71"/>
          <p:cNvSpPr/>
          <p:nvPr/>
        </p:nvSpPr>
        <p:spPr>
          <a:xfrm>
            <a:off x="7848754" y="2559201"/>
            <a:ext cx="386880" cy="137463"/>
          </a:xfrm>
          <a:prstGeom prst="cube">
            <a:avLst/>
          </a:prstGeom>
          <a:solidFill>
            <a:srgbClr val="BFBFBF"/>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solidFill>
                <a:prstClr val="white"/>
              </a:solidFill>
              <a:latin typeface="Calibri"/>
            </a:endParaRPr>
          </a:p>
        </p:txBody>
      </p:sp>
      <p:sp>
        <p:nvSpPr>
          <p:cNvPr id="73" name="Cube 72"/>
          <p:cNvSpPr/>
          <p:nvPr/>
        </p:nvSpPr>
        <p:spPr>
          <a:xfrm>
            <a:off x="7848754" y="3198456"/>
            <a:ext cx="386880" cy="137463"/>
          </a:xfrm>
          <a:prstGeom prst="cube">
            <a:avLst/>
          </a:prstGeom>
          <a:solidFill>
            <a:srgbClr val="BFBFBF"/>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solidFill>
                <a:prstClr val="white"/>
              </a:solidFill>
              <a:latin typeface="Calibri"/>
            </a:endParaRPr>
          </a:p>
        </p:txBody>
      </p:sp>
      <p:sp>
        <p:nvSpPr>
          <p:cNvPr id="74" name="Cube 73"/>
          <p:cNvSpPr/>
          <p:nvPr/>
        </p:nvSpPr>
        <p:spPr>
          <a:xfrm>
            <a:off x="7848754" y="2773404"/>
            <a:ext cx="386880" cy="137463"/>
          </a:xfrm>
          <a:prstGeom prst="cube">
            <a:avLst/>
          </a:prstGeom>
          <a:solidFill>
            <a:srgbClr val="BFBFBF"/>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b="1" dirty="0">
              <a:solidFill>
                <a:prstClr val="white"/>
              </a:solidFill>
              <a:latin typeface="Calibri"/>
            </a:endParaRPr>
          </a:p>
        </p:txBody>
      </p:sp>
      <p:cxnSp>
        <p:nvCxnSpPr>
          <p:cNvPr id="76" name="Straight Arrow Connector 75"/>
          <p:cNvCxnSpPr/>
          <p:nvPr/>
        </p:nvCxnSpPr>
        <p:spPr>
          <a:xfrm>
            <a:off x="6817838" y="2838141"/>
            <a:ext cx="1030916" cy="0"/>
          </a:xfrm>
          <a:prstGeom prst="straightConnector1">
            <a:avLst/>
          </a:prstGeom>
          <a:ln>
            <a:solidFill>
              <a:schemeClr val="bg1"/>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80" name="Straight Arrow Connector 79"/>
          <p:cNvCxnSpPr/>
          <p:nvPr/>
        </p:nvCxnSpPr>
        <p:spPr>
          <a:xfrm>
            <a:off x="6841493" y="2632078"/>
            <a:ext cx="1013564" cy="0"/>
          </a:xfrm>
          <a:prstGeom prst="straightConnector1">
            <a:avLst/>
          </a:prstGeom>
          <a:ln>
            <a:solidFill>
              <a:srgbClr val="FFFFFF"/>
            </a:solidFill>
            <a:tailEnd type="arrow"/>
          </a:ln>
        </p:spPr>
        <p:style>
          <a:lnRef idx="2">
            <a:schemeClr val="accent1"/>
          </a:lnRef>
          <a:fillRef idx="0">
            <a:schemeClr val="accent1"/>
          </a:fillRef>
          <a:effectRef idx="1">
            <a:schemeClr val="accent1"/>
          </a:effectRef>
          <a:fontRef idx="minor">
            <a:schemeClr val="tx1"/>
          </a:fontRef>
        </p:style>
      </p:cxnSp>
      <p:cxnSp>
        <p:nvCxnSpPr>
          <p:cNvPr id="81" name="Straight Arrow Connector 80"/>
          <p:cNvCxnSpPr/>
          <p:nvPr/>
        </p:nvCxnSpPr>
        <p:spPr>
          <a:xfrm flipH="1">
            <a:off x="6807672" y="3255754"/>
            <a:ext cx="1013564" cy="0"/>
          </a:xfrm>
          <a:prstGeom prst="straightConnector1">
            <a:avLst/>
          </a:prstGeom>
          <a:ln>
            <a:solidFill>
              <a:srgbClr val="FFFFFF"/>
            </a:solidFill>
            <a:tailEnd type="arrow"/>
          </a:ln>
        </p:spPr>
        <p:style>
          <a:lnRef idx="2">
            <a:schemeClr val="accent1"/>
          </a:lnRef>
          <a:fillRef idx="0">
            <a:schemeClr val="accent1"/>
          </a:fillRef>
          <a:effectRef idx="1">
            <a:schemeClr val="accent1"/>
          </a:effectRef>
          <a:fontRef idx="minor">
            <a:schemeClr val="tx1"/>
          </a:fontRef>
        </p:style>
      </p:cxnSp>
      <p:sp>
        <p:nvSpPr>
          <p:cNvPr id="88" name="Magnetic Disk 87"/>
          <p:cNvSpPr/>
          <p:nvPr/>
        </p:nvSpPr>
        <p:spPr>
          <a:xfrm>
            <a:off x="6841493" y="5325821"/>
            <a:ext cx="527773" cy="579085"/>
          </a:xfrm>
          <a:prstGeom prst="flowChartMagneticDisk">
            <a:avLst/>
          </a:prstGeom>
          <a:solidFill>
            <a:schemeClr val="accent5">
              <a:lumMod val="40000"/>
              <a:lumOff val="60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prstClr val="black"/>
                </a:solidFill>
                <a:latin typeface="Calibri"/>
              </a:rPr>
              <a:t>Tools</a:t>
            </a:r>
            <a:endParaRPr lang="en-US" sz="1200" b="1" dirty="0">
              <a:solidFill>
                <a:prstClr val="black"/>
              </a:solidFill>
              <a:latin typeface="Calibri"/>
            </a:endParaRPr>
          </a:p>
        </p:txBody>
      </p:sp>
      <p:sp>
        <p:nvSpPr>
          <p:cNvPr id="91" name="Rounded Rectangle 90"/>
          <p:cNvSpPr/>
          <p:nvPr/>
        </p:nvSpPr>
        <p:spPr>
          <a:xfrm>
            <a:off x="6206243" y="3428932"/>
            <a:ext cx="2401483" cy="664104"/>
          </a:xfrm>
          <a:prstGeom prst="roundRect">
            <a:avLst/>
          </a:prstGeom>
          <a:solidFill>
            <a:schemeClr val="accent3"/>
          </a:solidFill>
          <a:ln>
            <a:solidFill>
              <a:srgbClr val="77933C"/>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a:solidFill>
                  <a:srgbClr val="FFFFFF"/>
                </a:solidFill>
                <a:latin typeface="Calibri"/>
              </a:rPr>
              <a:t>I</a:t>
            </a:r>
            <a:r>
              <a:rPr lang="en-US" sz="1200" b="1" dirty="0" smtClean="0">
                <a:solidFill>
                  <a:srgbClr val="FFFFFF"/>
                </a:solidFill>
                <a:latin typeface="Calibri"/>
              </a:rPr>
              <a:t>mport/</a:t>
            </a:r>
            <a:r>
              <a:rPr lang="en-US" sz="1200" b="1" dirty="0">
                <a:solidFill>
                  <a:srgbClr val="FFFFFF"/>
                </a:solidFill>
                <a:latin typeface="Calibri"/>
              </a:rPr>
              <a:t>E</a:t>
            </a:r>
            <a:r>
              <a:rPr lang="en-US" sz="1200" b="1" dirty="0" smtClean="0">
                <a:solidFill>
                  <a:srgbClr val="FFFFFF"/>
                </a:solidFill>
                <a:latin typeface="Calibri"/>
              </a:rPr>
              <a:t>xport </a:t>
            </a:r>
            <a:r>
              <a:rPr lang="en-US" sz="1200" b="1" dirty="0">
                <a:solidFill>
                  <a:srgbClr val="FFFFFF"/>
                </a:solidFill>
                <a:latin typeface="Calibri"/>
              </a:rPr>
              <a:t>D</a:t>
            </a:r>
            <a:r>
              <a:rPr lang="en-US" sz="1200" b="1" dirty="0" smtClean="0">
                <a:solidFill>
                  <a:srgbClr val="FFFFFF"/>
                </a:solidFill>
                <a:latin typeface="Calibri"/>
              </a:rPr>
              <a:t>ata &amp; Results </a:t>
            </a:r>
          </a:p>
          <a:p>
            <a:pPr algn="ctr"/>
            <a:r>
              <a:rPr lang="en-US" sz="1200" b="1" dirty="0">
                <a:solidFill>
                  <a:srgbClr val="FFFFFF"/>
                </a:solidFill>
                <a:latin typeface="Calibri"/>
              </a:rPr>
              <a:t>A</a:t>
            </a:r>
            <a:r>
              <a:rPr lang="en-US" sz="1200" b="1" dirty="0" smtClean="0">
                <a:solidFill>
                  <a:srgbClr val="FFFFFF"/>
                </a:solidFill>
                <a:latin typeface="Calibri"/>
              </a:rPr>
              <a:t>nalyze </a:t>
            </a:r>
          </a:p>
          <a:p>
            <a:pPr algn="ctr"/>
            <a:r>
              <a:rPr lang="en-US" sz="1200" b="1" dirty="0">
                <a:solidFill>
                  <a:srgbClr val="FFFFFF"/>
                </a:solidFill>
                <a:latin typeface="Calibri"/>
              </a:rPr>
              <a:t>S</a:t>
            </a:r>
            <a:r>
              <a:rPr lang="en-US" sz="1200" b="1" dirty="0" smtClean="0">
                <a:solidFill>
                  <a:srgbClr val="FFFFFF"/>
                </a:solidFill>
                <a:latin typeface="Calibri"/>
              </a:rPr>
              <a:t>hare</a:t>
            </a:r>
          </a:p>
        </p:txBody>
      </p:sp>
      <p:sp>
        <p:nvSpPr>
          <p:cNvPr id="94" name="Bevel 93"/>
          <p:cNvSpPr/>
          <p:nvPr/>
        </p:nvSpPr>
        <p:spPr>
          <a:xfrm>
            <a:off x="7381839" y="5440349"/>
            <a:ext cx="1050132" cy="325657"/>
          </a:xfrm>
          <a:prstGeom prst="bevel">
            <a:avLst/>
          </a:prstGeom>
          <a:solidFill>
            <a:schemeClr val="accent5">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prstClr val="black"/>
                </a:solidFill>
                <a:latin typeface="Calibri"/>
              </a:rPr>
              <a:t>Algorithms</a:t>
            </a:r>
            <a:endParaRPr lang="en-US" sz="1200" b="1" dirty="0">
              <a:solidFill>
                <a:prstClr val="black"/>
              </a:solidFill>
              <a:latin typeface="Calibri"/>
            </a:endParaRPr>
          </a:p>
        </p:txBody>
      </p:sp>
      <p:sp>
        <p:nvSpPr>
          <p:cNvPr id="95" name="Rounded Rectangle 94"/>
          <p:cNvSpPr/>
          <p:nvPr/>
        </p:nvSpPr>
        <p:spPr>
          <a:xfrm>
            <a:off x="6552313" y="5930056"/>
            <a:ext cx="1891963" cy="614434"/>
          </a:xfrm>
          <a:prstGeom prst="roundRect">
            <a:avLst/>
          </a:prstGeom>
          <a:solidFill>
            <a:schemeClr val="accent3">
              <a:lumMod val="75000"/>
            </a:schemeClr>
          </a:solidFill>
          <a:ln>
            <a:solidFill>
              <a:srgbClr val="4F6228"/>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solidFill>
                  <a:srgbClr val="FFFFFF"/>
                </a:solidFill>
                <a:latin typeface="Calibri"/>
              </a:rPr>
              <a:t>GL provided</a:t>
            </a:r>
          </a:p>
          <a:p>
            <a:pPr algn="ctr"/>
            <a:r>
              <a:rPr lang="en-US" sz="1400" b="1" dirty="0" smtClean="0">
                <a:solidFill>
                  <a:srgbClr val="FFFFFF"/>
                </a:solidFill>
                <a:latin typeface="Calibri"/>
              </a:rPr>
              <a:t>imported </a:t>
            </a:r>
          </a:p>
          <a:p>
            <a:pPr algn="ctr"/>
            <a:r>
              <a:rPr lang="en-US" sz="1400" b="1" dirty="0" smtClean="0">
                <a:solidFill>
                  <a:srgbClr val="FFFFFF"/>
                </a:solidFill>
                <a:latin typeface="Calibri"/>
              </a:rPr>
              <a:t>user-developed</a:t>
            </a:r>
          </a:p>
        </p:txBody>
      </p:sp>
      <p:cxnSp>
        <p:nvCxnSpPr>
          <p:cNvPr id="96" name="Straight Arrow Connector 95"/>
          <p:cNvCxnSpPr/>
          <p:nvPr/>
        </p:nvCxnSpPr>
        <p:spPr>
          <a:xfrm flipV="1">
            <a:off x="7406985" y="4093036"/>
            <a:ext cx="0" cy="1569431"/>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97" name="Rounded Rectangle 96"/>
          <p:cNvSpPr/>
          <p:nvPr/>
        </p:nvSpPr>
        <p:spPr>
          <a:xfrm>
            <a:off x="6646545" y="4697282"/>
            <a:ext cx="1561429" cy="602307"/>
          </a:xfrm>
          <a:prstGeom prst="roundRect">
            <a:avLst/>
          </a:prstGeom>
          <a:solidFill>
            <a:schemeClr val="accent3">
              <a:lumMod val="75000"/>
            </a:schemeClr>
          </a:solidFill>
          <a:ln>
            <a:solidFill>
              <a:schemeClr val="accent3">
                <a:lumMod val="5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solidFill>
                  <a:prstClr val="black"/>
                </a:solidFill>
                <a:latin typeface="Calibri"/>
              </a:rPr>
              <a:t>BIOINFORMATICS </a:t>
            </a:r>
            <a:r>
              <a:rPr lang="en-US" sz="1400" b="1" dirty="0" smtClean="0">
                <a:solidFill>
                  <a:prstClr val="white"/>
                </a:solidFill>
                <a:latin typeface="Calibri"/>
              </a:rPr>
              <a:t>TOOLS</a:t>
            </a:r>
            <a:endParaRPr lang="en-US" sz="1400" b="1" dirty="0">
              <a:solidFill>
                <a:prstClr val="white"/>
              </a:solidFill>
              <a:latin typeface="Calibri"/>
            </a:endParaRPr>
          </a:p>
        </p:txBody>
      </p:sp>
      <p:sp>
        <p:nvSpPr>
          <p:cNvPr id="102" name="Magnetic Disk 101"/>
          <p:cNvSpPr/>
          <p:nvPr/>
        </p:nvSpPr>
        <p:spPr>
          <a:xfrm>
            <a:off x="4889087" y="5325821"/>
            <a:ext cx="524055" cy="579085"/>
          </a:xfrm>
          <a:prstGeom prst="flowChartMagneticDisk">
            <a:avLst/>
          </a:prstGeom>
          <a:solidFill>
            <a:schemeClr val="accent5">
              <a:lumMod val="40000"/>
              <a:lumOff val="60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prstClr val="black"/>
                </a:solidFill>
                <a:latin typeface="Calibri"/>
              </a:rPr>
              <a:t>Tools</a:t>
            </a:r>
            <a:endParaRPr lang="en-US" sz="1200" b="1" dirty="0">
              <a:solidFill>
                <a:prstClr val="black"/>
              </a:solidFill>
              <a:latin typeface="Calibri"/>
            </a:endParaRPr>
          </a:p>
        </p:txBody>
      </p:sp>
      <p:sp>
        <p:nvSpPr>
          <p:cNvPr id="103" name="Bevel 102"/>
          <p:cNvSpPr/>
          <p:nvPr/>
        </p:nvSpPr>
        <p:spPr>
          <a:xfrm>
            <a:off x="4643331" y="5904906"/>
            <a:ext cx="1050132" cy="325657"/>
          </a:xfrm>
          <a:prstGeom prst="bevel">
            <a:avLst/>
          </a:prstGeom>
          <a:solidFill>
            <a:schemeClr val="accent5">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prstClr val="black"/>
                </a:solidFill>
                <a:latin typeface="Calibri"/>
              </a:rPr>
              <a:t>Algorithms</a:t>
            </a:r>
            <a:endParaRPr lang="en-US" sz="1200" b="1" dirty="0">
              <a:solidFill>
                <a:prstClr val="black"/>
              </a:solidFill>
              <a:latin typeface="Calibri"/>
            </a:endParaRPr>
          </a:p>
        </p:txBody>
      </p:sp>
      <p:cxnSp>
        <p:nvCxnSpPr>
          <p:cNvPr id="104" name="Straight Arrow Connector 103"/>
          <p:cNvCxnSpPr/>
          <p:nvPr/>
        </p:nvCxnSpPr>
        <p:spPr>
          <a:xfrm>
            <a:off x="5404022" y="5662467"/>
            <a:ext cx="1274022" cy="0"/>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110" name="Rounded Rectangle 109"/>
          <p:cNvSpPr/>
          <p:nvPr/>
        </p:nvSpPr>
        <p:spPr>
          <a:xfrm>
            <a:off x="221546" y="848981"/>
            <a:ext cx="2225485" cy="1890064"/>
          </a:xfrm>
          <a:prstGeom prst="roundRect">
            <a:avLst/>
          </a:prstGeom>
          <a:solidFill>
            <a:schemeClr val="accent4">
              <a:lumMod val="40000"/>
              <a:lumOff val="60000"/>
            </a:schemeClr>
          </a:solidFill>
          <a:ln>
            <a:solidFill>
              <a:schemeClr val="accent3">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342900" indent="-342900">
              <a:lnSpc>
                <a:spcPct val="80000"/>
              </a:lnSpc>
              <a:buFont typeface="+mj-ea"/>
              <a:buAutoNum type="circleNumDbPlain"/>
            </a:pPr>
            <a:r>
              <a:rPr lang="en-US" sz="1400" b="1" dirty="0" smtClean="0">
                <a:solidFill>
                  <a:srgbClr val="000000"/>
                </a:solidFill>
                <a:latin typeface="Calibri"/>
              </a:rPr>
              <a:t>Legacy Data</a:t>
            </a:r>
          </a:p>
        </p:txBody>
      </p:sp>
      <p:cxnSp>
        <p:nvCxnSpPr>
          <p:cNvPr id="113" name="Straight Arrow Connector 112"/>
          <p:cNvCxnSpPr/>
          <p:nvPr/>
        </p:nvCxnSpPr>
        <p:spPr>
          <a:xfrm flipV="1">
            <a:off x="2459615" y="2308820"/>
            <a:ext cx="434512" cy="1"/>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15" name="Straight Arrow Connector 114"/>
          <p:cNvCxnSpPr/>
          <p:nvPr/>
        </p:nvCxnSpPr>
        <p:spPr>
          <a:xfrm>
            <a:off x="2459615" y="2695445"/>
            <a:ext cx="434512" cy="1219"/>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46" name="Rounded Rectangle 45"/>
          <p:cNvSpPr/>
          <p:nvPr/>
        </p:nvSpPr>
        <p:spPr>
          <a:xfrm>
            <a:off x="221546" y="3330983"/>
            <a:ext cx="2222008" cy="1759366"/>
          </a:xfrm>
          <a:prstGeom prst="roundRect">
            <a:avLst/>
          </a:prstGeom>
          <a:solidFill>
            <a:schemeClr val="accent4">
              <a:lumMod val="40000"/>
              <a:lumOff val="60000"/>
            </a:schemeClr>
          </a:solidFill>
          <a:ln>
            <a:solidFill>
              <a:schemeClr val="accent3">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latin typeface="Calibri"/>
            </a:endParaRPr>
          </a:p>
        </p:txBody>
      </p:sp>
      <p:sp>
        <p:nvSpPr>
          <p:cNvPr id="47" name="Cube 46"/>
          <p:cNvSpPr/>
          <p:nvPr/>
        </p:nvSpPr>
        <p:spPr>
          <a:xfrm>
            <a:off x="782487" y="4111689"/>
            <a:ext cx="1094673" cy="474839"/>
          </a:xfrm>
          <a:prstGeom prst="cube">
            <a:avLst/>
          </a:prstGeom>
          <a:solidFill>
            <a:schemeClr val="bg1">
              <a:lumMod val="8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rgbClr val="000000"/>
                </a:solidFill>
                <a:latin typeface="Calibri"/>
              </a:rPr>
              <a:t>Metadata</a:t>
            </a:r>
            <a:endParaRPr lang="en-US" sz="1200" b="1" dirty="0">
              <a:solidFill>
                <a:srgbClr val="000000"/>
              </a:solidFill>
              <a:latin typeface="Calibri"/>
            </a:endParaRPr>
          </a:p>
        </p:txBody>
      </p:sp>
      <p:sp>
        <p:nvSpPr>
          <p:cNvPr id="48" name="Cube 47"/>
          <p:cNvSpPr/>
          <p:nvPr/>
        </p:nvSpPr>
        <p:spPr>
          <a:xfrm>
            <a:off x="782487" y="3732015"/>
            <a:ext cx="1094673" cy="474839"/>
          </a:xfrm>
          <a:prstGeom prst="cube">
            <a:avLst/>
          </a:prstGeom>
          <a:solidFill>
            <a:schemeClr val="bg1">
              <a:lumMod val="7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b="1" dirty="0" smtClean="0">
                <a:solidFill>
                  <a:srgbClr val="000000"/>
                </a:solidFill>
                <a:latin typeface="Calibri"/>
              </a:rPr>
              <a:t>Data</a:t>
            </a:r>
            <a:endParaRPr lang="en-US" sz="1200" b="1" dirty="0">
              <a:solidFill>
                <a:srgbClr val="000000"/>
              </a:solidFill>
              <a:latin typeface="Calibri"/>
            </a:endParaRPr>
          </a:p>
        </p:txBody>
      </p:sp>
      <p:sp>
        <p:nvSpPr>
          <p:cNvPr id="49" name="TextBox 48"/>
          <p:cNvSpPr txBox="1"/>
          <p:nvPr/>
        </p:nvSpPr>
        <p:spPr>
          <a:xfrm>
            <a:off x="286341" y="4632882"/>
            <a:ext cx="2085139" cy="307777"/>
          </a:xfrm>
          <a:prstGeom prst="rect">
            <a:avLst/>
          </a:prstGeom>
          <a:noFill/>
        </p:spPr>
        <p:txBody>
          <a:bodyPr wrap="none" rtlCol="0">
            <a:spAutoFit/>
          </a:bodyPr>
          <a:lstStyle/>
          <a:p>
            <a:r>
              <a:rPr lang="en-US" sz="1400" b="1" dirty="0" smtClean="0">
                <a:solidFill>
                  <a:prstClr val="black"/>
                </a:solidFill>
                <a:latin typeface="Calibri"/>
              </a:rPr>
              <a:t>OTHER NASA DATABASES</a:t>
            </a:r>
            <a:endParaRPr lang="en-US" sz="1400" b="1" dirty="0">
              <a:solidFill>
                <a:prstClr val="black"/>
              </a:solidFill>
              <a:latin typeface="Calibri"/>
            </a:endParaRPr>
          </a:p>
        </p:txBody>
      </p:sp>
      <p:cxnSp>
        <p:nvCxnSpPr>
          <p:cNvPr id="3" name="Elbow Connector 2"/>
          <p:cNvCxnSpPr>
            <a:stCxn id="46" idx="3"/>
            <a:endCxn id="38" idx="2"/>
          </p:cNvCxnSpPr>
          <p:nvPr/>
        </p:nvCxnSpPr>
        <p:spPr>
          <a:xfrm flipV="1">
            <a:off x="2443554" y="3527516"/>
            <a:ext cx="1172772" cy="683150"/>
          </a:xfrm>
          <a:prstGeom prst="bentConnector3">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8" name="TextBox 7"/>
          <p:cNvSpPr txBox="1"/>
          <p:nvPr/>
        </p:nvSpPr>
        <p:spPr>
          <a:xfrm>
            <a:off x="4142961" y="0"/>
            <a:ext cx="4696095" cy="584776"/>
          </a:xfrm>
          <a:prstGeom prst="rect">
            <a:avLst/>
          </a:prstGeom>
          <a:noFill/>
        </p:spPr>
        <p:txBody>
          <a:bodyPr wrap="square" rtlCol="0">
            <a:spAutoFit/>
          </a:bodyPr>
          <a:lstStyle/>
          <a:p>
            <a:pPr algn="ctr"/>
            <a:r>
              <a:rPr lang="en-US" sz="3200" b="1" dirty="0" smtClean="0">
                <a:solidFill>
                  <a:prstClr val="black"/>
                </a:solidFill>
                <a:latin typeface="Calibri"/>
              </a:rPr>
              <a:t>GeneLab Data System </a:t>
            </a:r>
          </a:p>
        </p:txBody>
      </p:sp>
      <p:sp>
        <p:nvSpPr>
          <p:cNvPr id="51" name="TextBox 50"/>
          <p:cNvSpPr txBox="1"/>
          <p:nvPr/>
        </p:nvSpPr>
        <p:spPr>
          <a:xfrm>
            <a:off x="548597" y="920145"/>
            <a:ext cx="1377826" cy="369332"/>
          </a:xfrm>
          <a:prstGeom prst="rect">
            <a:avLst/>
          </a:prstGeom>
          <a:noFill/>
        </p:spPr>
        <p:txBody>
          <a:bodyPr wrap="none" rtlCol="0">
            <a:spAutoFit/>
          </a:bodyPr>
          <a:lstStyle/>
          <a:p>
            <a:r>
              <a:rPr lang="en-US" b="1" u="sng" dirty="0" smtClean="0">
                <a:solidFill>
                  <a:prstClr val="black"/>
                </a:solidFill>
                <a:latin typeface="Calibri"/>
              </a:rPr>
              <a:t>DATA INPUT</a:t>
            </a:r>
          </a:p>
        </p:txBody>
      </p:sp>
      <p:sp>
        <p:nvSpPr>
          <p:cNvPr id="85" name="Rounded Rectangle 84"/>
          <p:cNvSpPr/>
          <p:nvPr/>
        </p:nvSpPr>
        <p:spPr>
          <a:xfrm>
            <a:off x="221546" y="1955247"/>
            <a:ext cx="2222008" cy="1039490"/>
          </a:xfrm>
          <a:prstGeom prst="roundRect">
            <a:avLst/>
          </a:prstGeom>
          <a:solidFill>
            <a:schemeClr val="accent3">
              <a:lumMod val="20000"/>
              <a:lumOff val="80000"/>
            </a:schemeClr>
          </a:solidFill>
          <a:ln>
            <a:solidFill>
              <a:schemeClr val="accent3">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342900" indent="-342900">
              <a:lnSpc>
                <a:spcPct val="140000"/>
              </a:lnSpc>
              <a:buFont typeface="+mj-ea"/>
              <a:buAutoNum type="circleNumDbPlain" startAt="2"/>
            </a:pPr>
            <a:r>
              <a:rPr lang="en-US" sz="1400" b="1" dirty="0" smtClean="0">
                <a:solidFill>
                  <a:prstClr val="black"/>
                </a:solidFill>
                <a:latin typeface="Calibri"/>
              </a:rPr>
              <a:t>GL collab.  missions</a:t>
            </a:r>
          </a:p>
          <a:p>
            <a:pPr marL="342900" indent="-342900">
              <a:lnSpc>
                <a:spcPct val="140000"/>
              </a:lnSpc>
              <a:buFont typeface="+mj-ea"/>
              <a:buAutoNum type="circleNumDbPlain" startAt="2"/>
            </a:pPr>
            <a:r>
              <a:rPr lang="en-US" sz="1400" b="1" dirty="0" smtClean="0">
                <a:solidFill>
                  <a:prstClr val="black"/>
                </a:solidFill>
                <a:latin typeface="Calibri"/>
              </a:rPr>
              <a:t>GL reference missions</a:t>
            </a:r>
          </a:p>
          <a:p>
            <a:pPr marL="342900" indent="-342900">
              <a:lnSpc>
                <a:spcPct val="140000"/>
              </a:lnSpc>
              <a:buFont typeface="+mj-ea"/>
              <a:buAutoNum type="circleNumDbPlain" startAt="2"/>
            </a:pPr>
            <a:r>
              <a:rPr lang="en-US" sz="1400" b="1" dirty="0" smtClean="0">
                <a:solidFill>
                  <a:prstClr val="black"/>
                </a:solidFill>
                <a:latin typeface="Calibri"/>
              </a:rPr>
              <a:t>Web submissions</a:t>
            </a:r>
            <a:endParaRPr lang="en-US" sz="1400" b="1" dirty="0">
              <a:solidFill>
                <a:prstClr val="black"/>
              </a:solidFill>
              <a:latin typeface="Calibri"/>
            </a:endParaRPr>
          </a:p>
        </p:txBody>
      </p:sp>
      <p:pic>
        <p:nvPicPr>
          <p:cNvPr id="89" name="Picture 88"/>
          <p:cNvPicPr>
            <a:picLocks noChangeAspect="1"/>
          </p:cNvPicPr>
          <p:nvPr/>
        </p:nvPicPr>
        <p:blipFill>
          <a:blip r:embed="rId3"/>
          <a:stretch>
            <a:fillRect/>
          </a:stretch>
        </p:blipFill>
        <p:spPr>
          <a:xfrm>
            <a:off x="12472" y="0"/>
            <a:ext cx="3523095" cy="644690"/>
          </a:xfrm>
          <a:prstGeom prst="rect">
            <a:avLst/>
          </a:prstGeom>
        </p:spPr>
      </p:pic>
    </p:spTree>
    <p:extLst>
      <p:ext uri="{BB962C8B-B14F-4D97-AF65-F5344CB8AC3E}">
        <p14:creationId xmlns:p14="http://schemas.microsoft.com/office/powerpoint/2010/main" val="223508928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9200" y="73875"/>
            <a:ext cx="2133600" cy="487362"/>
          </a:xfrm>
          <a:solidFill>
            <a:srgbClr val="DCE6F2"/>
          </a:solidFill>
        </p:spPr>
        <p:txBody>
          <a:bodyPr>
            <a:noAutofit/>
          </a:bodyPr>
          <a:lstStyle/>
          <a:p>
            <a:r>
              <a:rPr lang="en-US" sz="2000" b="1" i="1" dirty="0">
                <a:latin typeface="+mn-lt"/>
                <a:ea typeface="+mn-ea"/>
                <a:cs typeface="+mn-cs"/>
              </a:rPr>
              <a:t>Data </a:t>
            </a:r>
            <a:r>
              <a:rPr lang="en-US" sz="2000" b="1" i="1" dirty="0" smtClean="0">
                <a:latin typeface="+mn-lt"/>
                <a:ea typeface="+mn-ea"/>
                <a:cs typeface="+mn-cs"/>
              </a:rPr>
              <a:t>Generation</a:t>
            </a:r>
            <a:endParaRPr lang="en-US" sz="2000" b="1" i="1" dirty="0">
              <a:latin typeface="+mn-lt"/>
              <a:ea typeface="+mn-ea"/>
              <a:cs typeface="+mn-cs"/>
            </a:endParaRPr>
          </a:p>
        </p:txBody>
      </p:sp>
      <p:sp>
        <p:nvSpPr>
          <p:cNvPr id="7" name="Oval 6"/>
          <p:cNvSpPr/>
          <p:nvPr/>
        </p:nvSpPr>
        <p:spPr>
          <a:xfrm>
            <a:off x="552450" y="1146420"/>
            <a:ext cx="1371600" cy="6096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err="1" smtClean="0">
                <a:solidFill>
                  <a:srgbClr val="4F81BD">
                    <a:lumMod val="75000"/>
                  </a:srgbClr>
                </a:solidFill>
                <a:latin typeface="Calibri"/>
              </a:rPr>
              <a:t>Omics</a:t>
            </a:r>
            <a:r>
              <a:rPr lang="en-US" sz="1400" b="1" dirty="0" smtClean="0">
                <a:solidFill>
                  <a:srgbClr val="4F81BD">
                    <a:lumMod val="75000"/>
                  </a:srgbClr>
                </a:solidFill>
                <a:latin typeface="Calibri"/>
              </a:rPr>
              <a:t> Center(s)</a:t>
            </a:r>
            <a:endParaRPr lang="en-US" sz="1400" b="1" dirty="0">
              <a:solidFill>
                <a:srgbClr val="4F81BD">
                  <a:lumMod val="75000"/>
                </a:srgbClr>
              </a:solidFill>
              <a:latin typeface="Calibri"/>
            </a:endParaRPr>
          </a:p>
        </p:txBody>
      </p:sp>
      <p:cxnSp>
        <p:nvCxnSpPr>
          <p:cNvPr id="12" name="Straight Arrow Connector 11"/>
          <p:cNvCxnSpPr>
            <a:stCxn id="33" idx="0"/>
            <a:endCxn id="7" idx="4"/>
          </p:cNvCxnSpPr>
          <p:nvPr/>
        </p:nvCxnSpPr>
        <p:spPr>
          <a:xfrm flipV="1">
            <a:off x="1238250" y="1756020"/>
            <a:ext cx="0" cy="659263"/>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7" idx="7"/>
            <a:endCxn id="81" idx="1"/>
          </p:cNvCxnSpPr>
          <p:nvPr/>
        </p:nvCxnSpPr>
        <p:spPr>
          <a:xfrm flipV="1">
            <a:off x="1723184" y="1211734"/>
            <a:ext cx="1521123" cy="23960"/>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7" idx="5"/>
            <a:endCxn id="39" idx="1"/>
          </p:cNvCxnSpPr>
          <p:nvPr/>
        </p:nvCxnSpPr>
        <p:spPr>
          <a:xfrm>
            <a:off x="1723184" y="1666746"/>
            <a:ext cx="258016" cy="117085"/>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39" idx="3"/>
            <a:endCxn id="21" idx="1"/>
          </p:cNvCxnSpPr>
          <p:nvPr/>
        </p:nvCxnSpPr>
        <p:spPr>
          <a:xfrm flipV="1">
            <a:off x="3009900" y="1781055"/>
            <a:ext cx="234408" cy="2776"/>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pic>
        <p:nvPicPr>
          <p:cNvPr id="3075" name="Picture 3" descr="C:\Users\jcoughla\AppData\Local\Microsoft\Windows\Temporary Internet Files\Content.IE5\U42KTE0S\Picture3[1].png"/>
          <p:cNvPicPr>
            <a:picLocks noChangeAspect="1" noChangeArrowheads="1"/>
          </p:cNvPicPr>
          <p:nvPr/>
        </p:nvPicPr>
        <p:blipFill>
          <a:blip r:embed="rId3" cstate="print">
            <a:extLst>
              <a:ext uri="{BEBA8EAE-BF5A-486C-A8C5-ECC9F3942E4B}">
                <a14:imgProps xmlns:a14="http://schemas.microsoft.com/office/drawing/2010/main">
                  <a14:imgLayer r:embed="rId4">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472865" y="1760432"/>
            <a:ext cx="746335" cy="638313"/>
          </a:xfrm>
          <a:prstGeom prst="rect">
            <a:avLst/>
          </a:prstGeom>
          <a:noFill/>
          <a:extLst>
            <a:ext uri="{909E8E84-426E-40dd-AFC4-6F175D3DCCD1}">
              <a14:hiddenFill xmlns:a14="http://schemas.microsoft.com/office/drawing/2010/main" xmlns="">
                <a:solidFill>
                  <a:srgbClr val="FFFFFF"/>
                </a:solidFill>
              </a14:hiddenFill>
            </a:ext>
          </a:extLst>
        </p:spPr>
      </p:pic>
      <p:sp>
        <p:nvSpPr>
          <p:cNvPr id="33" name="Rectangle 32"/>
          <p:cNvSpPr/>
          <p:nvPr/>
        </p:nvSpPr>
        <p:spPr>
          <a:xfrm>
            <a:off x="590550" y="2415283"/>
            <a:ext cx="1295400" cy="6096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rgbClr val="4F81BD">
                    <a:lumMod val="75000"/>
                  </a:srgbClr>
                </a:solidFill>
                <a:latin typeface="Calibri"/>
              </a:rPr>
              <a:t>Physical Sample (Liver)</a:t>
            </a:r>
            <a:endParaRPr lang="en-US" sz="1400" b="1" dirty="0">
              <a:solidFill>
                <a:srgbClr val="4F81BD">
                  <a:lumMod val="75000"/>
                </a:srgbClr>
              </a:solidFill>
              <a:latin typeface="Calibri"/>
            </a:endParaRPr>
          </a:p>
        </p:txBody>
      </p:sp>
      <p:sp>
        <p:nvSpPr>
          <p:cNvPr id="39" name="Flowchart: Alternate Process 38"/>
          <p:cNvSpPr/>
          <p:nvPr/>
        </p:nvSpPr>
        <p:spPr>
          <a:xfrm>
            <a:off x="1981200" y="1485437"/>
            <a:ext cx="1028700" cy="596788"/>
          </a:xfrm>
          <a:prstGeom prst="flowChartAlternateProcess">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400" b="1" dirty="0" smtClean="0">
                <a:solidFill>
                  <a:srgbClr val="4F81BD">
                    <a:lumMod val="75000"/>
                  </a:srgbClr>
                </a:solidFill>
                <a:latin typeface="Calibri"/>
              </a:rPr>
              <a:t>Data Processing </a:t>
            </a:r>
            <a:endParaRPr lang="en-US" sz="1400" b="1" dirty="0">
              <a:solidFill>
                <a:srgbClr val="4F81BD">
                  <a:lumMod val="75000"/>
                </a:srgbClr>
              </a:solidFill>
              <a:latin typeface="Calibri"/>
            </a:endParaRPr>
          </a:p>
        </p:txBody>
      </p:sp>
      <p:sp>
        <p:nvSpPr>
          <p:cNvPr id="52" name="Flowchart: Alternate Process 51"/>
          <p:cNvSpPr/>
          <p:nvPr/>
        </p:nvSpPr>
        <p:spPr>
          <a:xfrm>
            <a:off x="296772" y="667064"/>
            <a:ext cx="3839337" cy="3925614"/>
          </a:xfrm>
          <a:prstGeom prst="flowChartAlternateProcess">
            <a:avLst/>
          </a:prstGeom>
          <a:no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400" b="1" dirty="0">
              <a:solidFill>
                <a:srgbClr val="4F81BD">
                  <a:lumMod val="75000"/>
                </a:srgbClr>
              </a:solidFill>
              <a:latin typeface="Calibri"/>
            </a:endParaRPr>
          </a:p>
        </p:txBody>
      </p:sp>
      <p:sp>
        <p:nvSpPr>
          <p:cNvPr id="62" name="Oval 61"/>
          <p:cNvSpPr/>
          <p:nvPr/>
        </p:nvSpPr>
        <p:spPr>
          <a:xfrm>
            <a:off x="457200" y="3889620"/>
            <a:ext cx="1562100" cy="6096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rgbClr val="4F81BD">
                    <a:lumMod val="75000"/>
                  </a:srgbClr>
                </a:solidFill>
                <a:latin typeface="Calibri"/>
              </a:rPr>
              <a:t>Experiment</a:t>
            </a:r>
          </a:p>
          <a:p>
            <a:pPr algn="ctr"/>
            <a:r>
              <a:rPr lang="en-US" sz="1400" b="1" dirty="0" smtClean="0">
                <a:solidFill>
                  <a:srgbClr val="4F81BD">
                    <a:lumMod val="75000"/>
                  </a:srgbClr>
                </a:solidFill>
                <a:latin typeface="Calibri"/>
              </a:rPr>
              <a:t>Team</a:t>
            </a:r>
            <a:endParaRPr lang="en-US" sz="1400" b="1" dirty="0">
              <a:solidFill>
                <a:srgbClr val="4F81BD">
                  <a:lumMod val="75000"/>
                </a:srgbClr>
              </a:solidFill>
              <a:latin typeface="Calibri"/>
            </a:endParaRPr>
          </a:p>
        </p:txBody>
      </p:sp>
      <p:cxnSp>
        <p:nvCxnSpPr>
          <p:cNvPr id="67" name="Straight Arrow Connector 66"/>
          <p:cNvCxnSpPr>
            <a:stCxn id="51" idx="0"/>
            <a:endCxn id="33" idx="2"/>
          </p:cNvCxnSpPr>
          <p:nvPr/>
        </p:nvCxnSpPr>
        <p:spPr>
          <a:xfrm flipV="1">
            <a:off x="1238250" y="3024883"/>
            <a:ext cx="0" cy="254697"/>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3087" name="Flowchart: Stored Data 3086"/>
          <p:cNvSpPr/>
          <p:nvPr/>
        </p:nvSpPr>
        <p:spPr>
          <a:xfrm>
            <a:off x="5105400" y="1097646"/>
            <a:ext cx="2078072" cy="1093337"/>
          </a:xfrm>
          <a:prstGeom prst="flowChartOnlineStorag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b="1" dirty="0" smtClean="0">
                <a:solidFill>
                  <a:srgbClr val="4F81BD">
                    <a:lumMod val="75000"/>
                  </a:srgbClr>
                </a:solidFill>
                <a:latin typeface="Calibri"/>
              </a:rPr>
              <a:t>Curated </a:t>
            </a:r>
          </a:p>
          <a:p>
            <a:r>
              <a:rPr lang="en-US" sz="1300" b="1" dirty="0" smtClean="0">
                <a:solidFill>
                  <a:srgbClr val="4F81BD">
                    <a:lumMod val="75000"/>
                  </a:srgbClr>
                </a:solidFill>
                <a:latin typeface="Calibri"/>
              </a:rPr>
              <a:t>Data / Tools</a:t>
            </a:r>
            <a:endParaRPr lang="en-US" sz="1300" b="1" dirty="0">
              <a:solidFill>
                <a:srgbClr val="4F81BD">
                  <a:lumMod val="75000"/>
                </a:srgbClr>
              </a:solidFill>
              <a:latin typeface="Calibri"/>
            </a:endParaRPr>
          </a:p>
        </p:txBody>
      </p:sp>
      <p:sp>
        <p:nvSpPr>
          <p:cNvPr id="83" name="Right Brace 82"/>
          <p:cNvSpPr/>
          <p:nvPr/>
        </p:nvSpPr>
        <p:spPr>
          <a:xfrm>
            <a:off x="4837097" y="1070220"/>
            <a:ext cx="268303" cy="1487515"/>
          </a:xfrm>
          <a:prstGeom prst="rightBrace">
            <a:avLst/>
          </a:prstGeom>
          <a:ln w="254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latin typeface="Calibri"/>
            </a:endParaRPr>
          </a:p>
        </p:txBody>
      </p:sp>
      <p:sp>
        <p:nvSpPr>
          <p:cNvPr id="3089" name="Rectangle 3088"/>
          <p:cNvSpPr/>
          <p:nvPr/>
        </p:nvSpPr>
        <p:spPr>
          <a:xfrm>
            <a:off x="963811" y="729188"/>
            <a:ext cx="1865191" cy="369332"/>
          </a:xfrm>
          <a:prstGeom prst="rect">
            <a:avLst/>
          </a:prstGeom>
        </p:spPr>
        <p:txBody>
          <a:bodyPr wrap="none">
            <a:spAutoFit/>
          </a:bodyPr>
          <a:lstStyle/>
          <a:p>
            <a:r>
              <a:rPr lang="en-US" b="1" dirty="0" smtClean="0">
                <a:solidFill>
                  <a:srgbClr val="4F81BD">
                    <a:lumMod val="75000"/>
                  </a:srgbClr>
                </a:solidFill>
                <a:latin typeface="Calibri"/>
              </a:rPr>
              <a:t>Flight Experiment</a:t>
            </a:r>
            <a:endParaRPr lang="en-US" dirty="0">
              <a:solidFill>
                <a:prstClr val="black"/>
              </a:solidFill>
              <a:latin typeface="Calibri"/>
            </a:endParaRPr>
          </a:p>
        </p:txBody>
      </p:sp>
      <p:sp>
        <p:nvSpPr>
          <p:cNvPr id="3090" name="Flowchart: Direct Access Storage 3089"/>
          <p:cNvSpPr/>
          <p:nvPr/>
        </p:nvSpPr>
        <p:spPr>
          <a:xfrm>
            <a:off x="4551779" y="3002562"/>
            <a:ext cx="1538904" cy="741284"/>
          </a:xfrm>
          <a:prstGeom prst="flowChartMagneticDrum">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smtClean="0">
                <a:solidFill>
                  <a:srgbClr val="4F81BD">
                    <a:lumMod val="75000"/>
                  </a:srgbClr>
                </a:solidFill>
                <a:latin typeface="Calibri"/>
              </a:rPr>
              <a:t>External Archives</a:t>
            </a:r>
            <a:endParaRPr lang="en-US" sz="1200" b="1" dirty="0">
              <a:solidFill>
                <a:srgbClr val="4F81BD">
                  <a:lumMod val="75000"/>
                </a:srgbClr>
              </a:solidFill>
              <a:latin typeface="Calibri"/>
            </a:endParaRPr>
          </a:p>
        </p:txBody>
      </p:sp>
      <p:cxnSp>
        <p:nvCxnSpPr>
          <p:cNvPr id="3094" name="Curved Connector 3093"/>
          <p:cNvCxnSpPr/>
          <p:nvPr/>
        </p:nvCxnSpPr>
        <p:spPr>
          <a:xfrm rot="5400000">
            <a:off x="5321951" y="2373630"/>
            <a:ext cx="642952" cy="297922"/>
          </a:xfrm>
          <a:prstGeom prst="curvedConnector3">
            <a:avLst/>
          </a:prstGeom>
          <a:ln w="38100">
            <a:headEnd type="arrow"/>
            <a:tailEnd type="arrow"/>
          </a:ln>
        </p:spPr>
        <p:style>
          <a:lnRef idx="1">
            <a:schemeClr val="accent1"/>
          </a:lnRef>
          <a:fillRef idx="0">
            <a:schemeClr val="accent1"/>
          </a:fillRef>
          <a:effectRef idx="0">
            <a:schemeClr val="accent1"/>
          </a:effectRef>
          <a:fontRef idx="minor">
            <a:schemeClr val="tx1"/>
          </a:fontRef>
        </p:style>
      </p:cxnSp>
      <p:sp>
        <p:nvSpPr>
          <p:cNvPr id="97" name="Flowchart: Direct Access Storage 96"/>
          <p:cNvSpPr/>
          <p:nvPr/>
        </p:nvSpPr>
        <p:spPr>
          <a:xfrm>
            <a:off x="4704179" y="3154962"/>
            <a:ext cx="1538904" cy="741284"/>
          </a:xfrm>
          <a:prstGeom prst="flowChartMagneticDrum">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smtClean="0">
                <a:solidFill>
                  <a:srgbClr val="4F81BD">
                    <a:lumMod val="75000"/>
                  </a:srgbClr>
                </a:solidFill>
                <a:latin typeface="Calibri"/>
              </a:rPr>
              <a:t>External Archives</a:t>
            </a:r>
            <a:endParaRPr lang="en-US" sz="1200" b="1" dirty="0">
              <a:solidFill>
                <a:srgbClr val="4F81BD">
                  <a:lumMod val="75000"/>
                </a:srgbClr>
              </a:solidFill>
              <a:latin typeface="Calibri"/>
            </a:endParaRPr>
          </a:p>
        </p:txBody>
      </p:sp>
      <p:sp>
        <p:nvSpPr>
          <p:cNvPr id="98" name="Flowchart: Direct Access Storage 97"/>
          <p:cNvSpPr/>
          <p:nvPr/>
        </p:nvSpPr>
        <p:spPr>
          <a:xfrm>
            <a:off x="4856579" y="3307362"/>
            <a:ext cx="1538904" cy="741284"/>
          </a:xfrm>
          <a:prstGeom prst="flowChartMagneticDrum">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smtClean="0">
                <a:solidFill>
                  <a:srgbClr val="4F81BD">
                    <a:lumMod val="75000"/>
                  </a:srgbClr>
                </a:solidFill>
                <a:latin typeface="Calibri"/>
              </a:rPr>
              <a:t>External</a:t>
            </a:r>
          </a:p>
          <a:p>
            <a:r>
              <a:rPr lang="en-US" sz="1200" b="1" dirty="0" smtClean="0">
                <a:solidFill>
                  <a:srgbClr val="4F81BD">
                    <a:lumMod val="75000"/>
                  </a:srgbClr>
                </a:solidFill>
                <a:latin typeface="Calibri"/>
              </a:rPr>
              <a:t>Systems (e.g. EBI)</a:t>
            </a:r>
            <a:endParaRPr lang="en-US" sz="1200" b="1" dirty="0">
              <a:solidFill>
                <a:srgbClr val="4F81BD">
                  <a:lumMod val="75000"/>
                </a:srgbClr>
              </a:solidFill>
              <a:latin typeface="Calibri"/>
            </a:endParaRPr>
          </a:p>
        </p:txBody>
      </p:sp>
      <p:sp>
        <p:nvSpPr>
          <p:cNvPr id="3105" name="Rectangle 3104"/>
          <p:cNvSpPr/>
          <p:nvPr/>
        </p:nvSpPr>
        <p:spPr>
          <a:xfrm>
            <a:off x="4198869" y="2646119"/>
            <a:ext cx="1668531" cy="261610"/>
          </a:xfrm>
          <a:prstGeom prst="rect">
            <a:avLst/>
          </a:prstGeom>
        </p:spPr>
        <p:txBody>
          <a:bodyPr wrap="square">
            <a:spAutoFit/>
          </a:bodyPr>
          <a:lstStyle/>
          <a:p>
            <a:pPr algn="ctr"/>
            <a:r>
              <a:rPr lang="en-US" sz="1100" b="1" dirty="0" smtClean="0">
                <a:solidFill>
                  <a:srgbClr val="4F81BD">
                    <a:lumMod val="75000"/>
                  </a:srgbClr>
                </a:solidFill>
                <a:latin typeface="Calibri"/>
              </a:rPr>
              <a:t>Federation**</a:t>
            </a:r>
            <a:endParaRPr lang="en-US" sz="1100" dirty="0">
              <a:solidFill>
                <a:prstClr val="black"/>
              </a:solidFill>
              <a:latin typeface="Calibri"/>
            </a:endParaRPr>
          </a:p>
        </p:txBody>
      </p:sp>
      <p:cxnSp>
        <p:nvCxnSpPr>
          <p:cNvPr id="37" name="Straight Arrow Connector 36"/>
          <p:cNvCxnSpPr>
            <a:stCxn id="62" idx="0"/>
          </p:cNvCxnSpPr>
          <p:nvPr/>
        </p:nvCxnSpPr>
        <p:spPr>
          <a:xfrm flipV="1">
            <a:off x="1238250" y="3587612"/>
            <a:ext cx="0" cy="302008"/>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51" name="Flowchart: Alternate Process 50"/>
          <p:cNvSpPr/>
          <p:nvPr/>
        </p:nvSpPr>
        <p:spPr>
          <a:xfrm>
            <a:off x="514350" y="3279580"/>
            <a:ext cx="1447800" cy="336510"/>
          </a:xfrm>
          <a:prstGeom prst="flowChartAlternateProcess">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400" b="1" dirty="0" smtClean="0">
                <a:solidFill>
                  <a:srgbClr val="4F81BD">
                    <a:lumMod val="75000"/>
                  </a:srgbClr>
                </a:solidFill>
                <a:latin typeface="Calibri"/>
              </a:rPr>
              <a:t>Operations</a:t>
            </a:r>
            <a:endParaRPr lang="en-US" sz="1400" b="1" dirty="0">
              <a:solidFill>
                <a:srgbClr val="4F81BD">
                  <a:lumMod val="75000"/>
                </a:srgbClr>
              </a:solidFill>
              <a:latin typeface="Calibri"/>
            </a:endParaRPr>
          </a:p>
        </p:txBody>
      </p:sp>
      <p:sp>
        <p:nvSpPr>
          <p:cNvPr id="21" name="Rectangle 20"/>
          <p:cNvSpPr/>
          <p:nvPr/>
        </p:nvSpPr>
        <p:spPr>
          <a:xfrm>
            <a:off x="3244308" y="1537775"/>
            <a:ext cx="1590894" cy="48656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r>
              <a:rPr lang="en-US" sz="1400" b="1" dirty="0" smtClean="0">
                <a:solidFill>
                  <a:srgbClr val="4F81BD">
                    <a:lumMod val="75000"/>
                  </a:srgbClr>
                </a:solidFill>
                <a:latin typeface="Calibri"/>
              </a:rPr>
              <a:t>Higher Order Data Products*</a:t>
            </a:r>
            <a:endParaRPr lang="en-US" sz="1400" b="1" dirty="0">
              <a:solidFill>
                <a:srgbClr val="4F81BD">
                  <a:lumMod val="75000"/>
                </a:srgbClr>
              </a:solidFill>
              <a:latin typeface="Calibri"/>
            </a:endParaRPr>
          </a:p>
        </p:txBody>
      </p:sp>
      <p:sp>
        <p:nvSpPr>
          <p:cNvPr id="78" name="Rectangle 77"/>
          <p:cNvSpPr/>
          <p:nvPr/>
        </p:nvSpPr>
        <p:spPr>
          <a:xfrm>
            <a:off x="3244307" y="2167499"/>
            <a:ext cx="1622711" cy="43027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rgbClr val="4F81BD">
                    <a:lumMod val="75000"/>
                  </a:srgbClr>
                </a:solidFill>
                <a:latin typeface="Calibri"/>
              </a:rPr>
              <a:t>Spaceflight-related</a:t>
            </a:r>
          </a:p>
          <a:p>
            <a:pPr algn="ctr"/>
            <a:r>
              <a:rPr lang="en-US" sz="1400" b="1" dirty="0" smtClean="0">
                <a:solidFill>
                  <a:srgbClr val="4F81BD">
                    <a:lumMod val="75000"/>
                  </a:srgbClr>
                </a:solidFill>
                <a:latin typeface="Calibri"/>
              </a:rPr>
              <a:t>Metadata</a:t>
            </a:r>
          </a:p>
        </p:txBody>
      </p:sp>
      <p:sp>
        <p:nvSpPr>
          <p:cNvPr id="81" name="Rectangle 80"/>
          <p:cNvSpPr/>
          <p:nvPr/>
        </p:nvSpPr>
        <p:spPr>
          <a:xfrm>
            <a:off x="3244307" y="1028855"/>
            <a:ext cx="1591461" cy="365757"/>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rgbClr val="4F81BD">
                    <a:lumMod val="75000"/>
                  </a:srgbClr>
                </a:solidFill>
                <a:latin typeface="Calibri"/>
              </a:rPr>
              <a:t>Raw Data</a:t>
            </a:r>
            <a:endParaRPr lang="en-US" sz="1400" b="1" dirty="0">
              <a:solidFill>
                <a:srgbClr val="4F81BD">
                  <a:lumMod val="75000"/>
                </a:srgbClr>
              </a:solidFill>
              <a:latin typeface="Calibri"/>
            </a:endParaRPr>
          </a:p>
        </p:txBody>
      </p:sp>
      <p:cxnSp>
        <p:nvCxnSpPr>
          <p:cNvPr id="58" name="Straight Arrow Connector 57"/>
          <p:cNvCxnSpPr>
            <a:stCxn id="51" idx="3"/>
            <a:endCxn id="78" idx="1"/>
          </p:cNvCxnSpPr>
          <p:nvPr/>
        </p:nvCxnSpPr>
        <p:spPr>
          <a:xfrm flipV="1">
            <a:off x="1962150" y="2382637"/>
            <a:ext cx="1282157" cy="1065198"/>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V="1">
            <a:off x="2019300" y="2618185"/>
            <a:ext cx="1333500" cy="1575472"/>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152400" y="4858510"/>
            <a:ext cx="3882668" cy="1569660"/>
          </a:xfrm>
          <a:prstGeom prst="rect">
            <a:avLst/>
          </a:prstGeom>
          <a:noFill/>
        </p:spPr>
        <p:txBody>
          <a:bodyPr wrap="square" rtlCol="0">
            <a:spAutoFit/>
          </a:bodyPr>
          <a:lstStyle/>
          <a:p>
            <a:r>
              <a:rPr lang="en-US" sz="1050" dirty="0" smtClean="0">
                <a:solidFill>
                  <a:prstClr val="black"/>
                </a:solidFill>
                <a:latin typeface="Calibri"/>
              </a:rPr>
              <a:t>*</a:t>
            </a:r>
            <a:r>
              <a:rPr lang="en-US" sz="1200" dirty="0" smtClean="0">
                <a:solidFill>
                  <a:prstClr val="black"/>
                </a:solidFill>
                <a:latin typeface="Calibri"/>
              </a:rPr>
              <a:t>Higher-Order </a:t>
            </a:r>
            <a:r>
              <a:rPr lang="en-US" sz="1200" dirty="0">
                <a:solidFill>
                  <a:prstClr val="black"/>
                </a:solidFill>
                <a:latin typeface="Calibri"/>
              </a:rPr>
              <a:t>Data Products may be generated and submitted by PIs and/or </a:t>
            </a:r>
            <a:r>
              <a:rPr lang="en-US" sz="1200" dirty="0" err="1" smtClean="0">
                <a:solidFill>
                  <a:prstClr val="black"/>
                </a:solidFill>
                <a:latin typeface="Calibri"/>
              </a:rPr>
              <a:t>omics</a:t>
            </a:r>
            <a:r>
              <a:rPr lang="en-US" sz="1200" dirty="0" smtClean="0">
                <a:solidFill>
                  <a:prstClr val="black"/>
                </a:solidFill>
                <a:latin typeface="Calibri"/>
              </a:rPr>
              <a:t> center(s). The </a:t>
            </a:r>
            <a:r>
              <a:rPr lang="en-US" sz="1200" dirty="0">
                <a:solidFill>
                  <a:prstClr val="black"/>
                </a:solidFill>
                <a:latin typeface="Calibri"/>
              </a:rPr>
              <a:t>user community </a:t>
            </a:r>
            <a:r>
              <a:rPr lang="en-US" sz="1200" dirty="0" smtClean="0">
                <a:solidFill>
                  <a:prstClr val="black"/>
                </a:solidFill>
                <a:latin typeface="Calibri"/>
              </a:rPr>
              <a:t>might request additional standard data products.</a:t>
            </a:r>
            <a:endParaRPr lang="en-US" sz="1200" dirty="0">
              <a:solidFill>
                <a:prstClr val="black"/>
              </a:solidFill>
              <a:latin typeface="Calibri"/>
            </a:endParaRPr>
          </a:p>
          <a:p>
            <a:r>
              <a:rPr lang="en-US" sz="1200" dirty="0" smtClean="0">
                <a:solidFill>
                  <a:prstClr val="black"/>
                </a:solidFill>
                <a:latin typeface="Calibri"/>
              </a:rPr>
              <a:t>**Federation is a form of data sharing or accessibility that includes either query propagation on other systems, sharing metadata for local querying, or synchronizing duplicate copies of data on different systems.</a:t>
            </a:r>
          </a:p>
        </p:txBody>
      </p:sp>
      <p:pic>
        <p:nvPicPr>
          <p:cNvPr id="68" name="Picture 5" descr="C:\Users\jcoughla\AppData\Local\Microsoft\Windows\Temporary Internet Files\Content.IE5\U9JYVVAE\international-space-station-296780_640[1].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2312605" y="3330315"/>
            <a:ext cx="1594454" cy="1118609"/>
          </a:xfrm>
          <a:prstGeom prst="rect">
            <a:avLst/>
          </a:prstGeom>
          <a:noFill/>
          <a:extLst>
            <a:ext uri="{909E8E84-426E-40dd-AFC4-6F175D3DCCD1}">
              <a14:hiddenFill xmlns:a14="http://schemas.microsoft.com/office/drawing/2010/main" xmlns="">
                <a:solidFill>
                  <a:srgbClr val="FFFFFF"/>
                </a:solidFill>
              </a14:hiddenFill>
            </a:ext>
          </a:extLst>
        </p:spPr>
      </p:pic>
      <p:pic>
        <p:nvPicPr>
          <p:cNvPr id="69" name="Picture 4" descr="C:\Users\jcoughla\AppData\Local\Microsoft\Windows\Temporary Internet Files\Content.IE5\YZRCHYCZ\silhouette-mouse-sitting[1].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801374" y="4000603"/>
            <a:ext cx="308458" cy="308458"/>
          </a:xfrm>
          <a:prstGeom prst="rect">
            <a:avLst/>
          </a:prstGeom>
          <a:noFill/>
          <a:extLst>
            <a:ext uri="{909E8E84-426E-40dd-AFC4-6F175D3DCCD1}">
              <a14:hiddenFill xmlns:a14="http://schemas.microsoft.com/office/drawing/2010/main" xmlns="">
                <a:solidFill>
                  <a:srgbClr val="FFFFFF"/>
                </a:solidFill>
              </a14:hiddenFill>
            </a:ext>
          </a:extLst>
        </p:spPr>
      </p:pic>
      <p:sp>
        <p:nvSpPr>
          <p:cNvPr id="84" name="Flowchart: Alternate Process 83"/>
          <p:cNvSpPr/>
          <p:nvPr/>
        </p:nvSpPr>
        <p:spPr>
          <a:xfrm>
            <a:off x="7445640" y="1485229"/>
            <a:ext cx="1272970" cy="340225"/>
          </a:xfrm>
          <a:prstGeom prst="flowChartAlternateProcess">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400" b="1" dirty="0" smtClean="0">
                <a:solidFill>
                  <a:srgbClr val="4F81BD">
                    <a:lumMod val="75000"/>
                  </a:srgbClr>
                </a:solidFill>
                <a:latin typeface="Calibri"/>
              </a:rPr>
              <a:t>Distribution</a:t>
            </a:r>
            <a:endParaRPr lang="en-US" sz="1400" b="1" dirty="0">
              <a:solidFill>
                <a:srgbClr val="4F81BD">
                  <a:lumMod val="75000"/>
                </a:srgbClr>
              </a:solidFill>
              <a:latin typeface="Calibri"/>
            </a:endParaRPr>
          </a:p>
        </p:txBody>
      </p:sp>
      <p:sp>
        <p:nvSpPr>
          <p:cNvPr id="85" name="Flowchart: Alternate Process 84"/>
          <p:cNvSpPr/>
          <p:nvPr/>
        </p:nvSpPr>
        <p:spPr>
          <a:xfrm>
            <a:off x="7445640" y="2621646"/>
            <a:ext cx="1272970" cy="544514"/>
          </a:xfrm>
          <a:prstGeom prst="flowChartAlternateProcess">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400" b="1" dirty="0" smtClean="0">
                <a:solidFill>
                  <a:srgbClr val="4F81BD">
                    <a:lumMod val="75000"/>
                  </a:srgbClr>
                </a:solidFill>
                <a:latin typeface="Calibri"/>
              </a:rPr>
              <a:t>Analysis Archive</a:t>
            </a:r>
            <a:endParaRPr lang="en-US" sz="1400" b="1" dirty="0">
              <a:solidFill>
                <a:srgbClr val="4F81BD">
                  <a:lumMod val="75000"/>
                </a:srgbClr>
              </a:solidFill>
              <a:latin typeface="Calibri"/>
            </a:endParaRPr>
          </a:p>
        </p:txBody>
      </p:sp>
      <p:sp>
        <p:nvSpPr>
          <p:cNvPr id="86" name="Flowchart: Alternate Process 85"/>
          <p:cNvSpPr/>
          <p:nvPr/>
        </p:nvSpPr>
        <p:spPr>
          <a:xfrm>
            <a:off x="7454196" y="1890439"/>
            <a:ext cx="1272970" cy="339091"/>
          </a:xfrm>
          <a:prstGeom prst="flowChartAlternateProcess">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400" b="1" dirty="0" smtClean="0">
                <a:solidFill>
                  <a:srgbClr val="4F81BD">
                    <a:lumMod val="75000"/>
                  </a:srgbClr>
                </a:solidFill>
                <a:latin typeface="Calibri"/>
              </a:rPr>
              <a:t>Reprocessing</a:t>
            </a:r>
            <a:endParaRPr lang="en-US" sz="1400" b="1" dirty="0">
              <a:solidFill>
                <a:srgbClr val="4F81BD">
                  <a:lumMod val="75000"/>
                </a:srgbClr>
              </a:solidFill>
              <a:latin typeface="Calibri"/>
            </a:endParaRPr>
          </a:p>
        </p:txBody>
      </p:sp>
      <p:sp>
        <p:nvSpPr>
          <p:cNvPr id="87" name="Flowchart: Alternate Process 86"/>
          <p:cNvSpPr/>
          <p:nvPr/>
        </p:nvSpPr>
        <p:spPr>
          <a:xfrm>
            <a:off x="7445640" y="1094490"/>
            <a:ext cx="1272970" cy="323463"/>
          </a:xfrm>
          <a:prstGeom prst="flowChartAlternateProcess">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400" b="1" dirty="0" smtClean="0">
                <a:solidFill>
                  <a:srgbClr val="4F81BD">
                    <a:lumMod val="75000"/>
                  </a:srgbClr>
                </a:solidFill>
                <a:latin typeface="Calibri"/>
              </a:rPr>
              <a:t>Search</a:t>
            </a:r>
            <a:endParaRPr lang="en-US" sz="1400" b="1" dirty="0">
              <a:solidFill>
                <a:srgbClr val="4F81BD">
                  <a:lumMod val="75000"/>
                </a:srgbClr>
              </a:solidFill>
              <a:latin typeface="Calibri"/>
            </a:endParaRPr>
          </a:p>
        </p:txBody>
      </p:sp>
      <p:sp>
        <p:nvSpPr>
          <p:cNvPr id="88" name="Flowchart: Alternate Process 87"/>
          <p:cNvSpPr/>
          <p:nvPr/>
        </p:nvSpPr>
        <p:spPr>
          <a:xfrm>
            <a:off x="7457621" y="3242360"/>
            <a:ext cx="1272970" cy="578141"/>
          </a:xfrm>
          <a:prstGeom prst="flowChartAlternateProcess">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400" b="1" dirty="0" smtClean="0">
                <a:solidFill>
                  <a:srgbClr val="4F81BD">
                    <a:lumMod val="75000"/>
                  </a:srgbClr>
                </a:solidFill>
                <a:latin typeface="Calibri"/>
              </a:rPr>
              <a:t>Tools Distribution</a:t>
            </a:r>
            <a:endParaRPr lang="en-US" sz="1400" b="1" dirty="0">
              <a:solidFill>
                <a:srgbClr val="4F81BD">
                  <a:lumMod val="75000"/>
                </a:srgbClr>
              </a:solidFill>
              <a:latin typeface="Calibri"/>
            </a:endParaRPr>
          </a:p>
        </p:txBody>
      </p:sp>
      <p:sp>
        <p:nvSpPr>
          <p:cNvPr id="92" name="Flowchart: Alternate Process 91"/>
          <p:cNvSpPr/>
          <p:nvPr/>
        </p:nvSpPr>
        <p:spPr>
          <a:xfrm>
            <a:off x="4267200" y="2924714"/>
            <a:ext cx="2204109" cy="1209343"/>
          </a:xfrm>
          <a:prstGeom prst="flowChartAlternateProcess">
            <a:avLst/>
          </a:prstGeom>
          <a:no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400" b="1" dirty="0">
              <a:solidFill>
                <a:srgbClr val="4F81BD">
                  <a:lumMod val="75000"/>
                </a:srgbClr>
              </a:solidFill>
              <a:latin typeface="Calibri"/>
            </a:endParaRPr>
          </a:p>
        </p:txBody>
      </p:sp>
      <p:sp>
        <p:nvSpPr>
          <p:cNvPr id="93" name="Title 1"/>
          <p:cNvSpPr txBox="1">
            <a:spLocks/>
          </p:cNvSpPr>
          <p:nvPr/>
        </p:nvSpPr>
        <p:spPr>
          <a:xfrm>
            <a:off x="5656317" y="88993"/>
            <a:ext cx="1831394" cy="487362"/>
          </a:xfrm>
          <a:prstGeom prst="rect">
            <a:avLst/>
          </a:prstGeom>
          <a:solidFill>
            <a:schemeClr val="accent1">
              <a:lumMod val="20000"/>
              <a:lumOff val="8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2000" b="1" i="1" dirty="0" smtClean="0">
                <a:solidFill>
                  <a:prstClr val="black"/>
                </a:solidFill>
                <a:latin typeface="Calibri"/>
              </a:rPr>
              <a:t>Data Use</a:t>
            </a:r>
            <a:endParaRPr lang="en-US" sz="2000" b="1" i="1" dirty="0">
              <a:solidFill>
                <a:prstClr val="black"/>
              </a:solidFill>
              <a:latin typeface="Calibri"/>
            </a:endParaRPr>
          </a:p>
        </p:txBody>
      </p:sp>
      <p:sp>
        <p:nvSpPr>
          <p:cNvPr id="96" name="Oval 95"/>
          <p:cNvSpPr/>
          <p:nvPr/>
        </p:nvSpPr>
        <p:spPr>
          <a:xfrm>
            <a:off x="4563675" y="5223300"/>
            <a:ext cx="1673036" cy="6096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rgbClr val="4F81BD">
                    <a:lumMod val="75000"/>
                  </a:srgbClr>
                </a:solidFill>
                <a:latin typeface="Calibri"/>
              </a:rPr>
              <a:t>Analyses</a:t>
            </a:r>
          </a:p>
        </p:txBody>
      </p:sp>
      <p:sp>
        <p:nvSpPr>
          <p:cNvPr id="100" name="Oval 99"/>
          <p:cNvSpPr/>
          <p:nvPr/>
        </p:nvSpPr>
        <p:spPr>
          <a:xfrm>
            <a:off x="6795020" y="5212446"/>
            <a:ext cx="1673036" cy="6096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rgbClr val="4F81BD">
                    <a:lumMod val="75000"/>
                  </a:srgbClr>
                </a:solidFill>
                <a:latin typeface="Calibri"/>
              </a:rPr>
              <a:t>Tool Development</a:t>
            </a:r>
          </a:p>
        </p:txBody>
      </p:sp>
      <p:sp>
        <p:nvSpPr>
          <p:cNvPr id="101" name="Flowchart: Alternate Process 100"/>
          <p:cNvSpPr/>
          <p:nvPr/>
        </p:nvSpPr>
        <p:spPr>
          <a:xfrm rot="5400000">
            <a:off x="7420984" y="898630"/>
            <a:ext cx="1339394" cy="1497038"/>
          </a:xfrm>
          <a:prstGeom prst="flowChartAlternateProcess">
            <a:avLst/>
          </a:prstGeom>
          <a:no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400" b="1" dirty="0">
              <a:solidFill>
                <a:srgbClr val="4F81BD">
                  <a:lumMod val="75000"/>
                </a:srgbClr>
              </a:solidFill>
              <a:latin typeface="Calibri"/>
            </a:endParaRPr>
          </a:p>
        </p:txBody>
      </p:sp>
      <p:sp>
        <p:nvSpPr>
          <p:cNvPr id="65" name="TextBox 64"/>
          <p:cNvSpPr txBox="1"/>
          <p:nvPr/>
        </p:nvSpPr>
        <p:spPr>
          <a:xfrm>
            <a:off x="7430048" y="628155"/>
            <a:ext cx="1263659" cy="276999"/>
          </a:xfrm>
          <a:prstGeom prst="rect">
            <a:avLst/>
          </a:prstGeom>
          <a:noFill/>
        </p:spPr>
        <p:txBody>
          <a:bodyPr wrap="square" rtlCol="0">
            <a:spAutoFit/>
          </a:bodyPr>
          <a:lstStyle/>
          <a:p>
            <a:pPr algn="ctr"/>
            <a:r>
              <a:rPr lang="en-US" sz="1200" i="1" dirty="0" smtClean="0">
                <a:solidFill>
                  <a:prstClr val="black"/>
                </a:solidFill>
                <a:latin typeface="Calibri"/>
              </a:rPr>
              <a:t>Analysis Support</a:t>
            </a:r>
            <a:endParaRPr lang="en-US" sz="1200" i="1" dirty="0">
              <a:solidFill>
                <a:prstClr val="black"/>
              </a:solidFill>
              <a:latin typeface="Calibri"/>
            </a:endParaRPr>
          </a:p>
        </p:txBody>
      </p:sp>
      <p:sp>
        <p:nvSpPr>
          <p:cNvPr id="105" name="Flowchart: Alternate Process 104"/>
          <p:cNvSpPr/>
          <p:nvPr/>
        </p:nvSpPr>
        <p:spPr>
          <a:xfrm>
            <a:off x="4161037" y="4831361"/>
            <a:ext cx="4678163" cy="1676485"/>
          </a:xfrm>
          <a:prstGeom prst="flowChartAlternateProcess">
            <a:avLst/>
          </a:prstGeom>
          <a:noFill/>
          <a:ln>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400" b="1" dirty="0">
              <a:solidFill>
                <a:srgbClr val="4F81BD">
                  <a:lumMod val="75000"/>
                </a:srgbClr>
              </a:solidFill>
              <a:latin typeface="Calibri"/>
            </a:endParaRPr>
          </a:p>
        </p:txBody>
      </p:sp>
      <p:cxnSp>
        <p:nvCxnSpPr>
          <p:cNvPr id="106" name="Straight Arrow Connector 105"/>
          <p:cNvCxnSpPr>
            <a:endCxn id="71" idx="1"/>
          </p:cNvCxnSpPr>
          <p:nvPr/>
        </p:nvCxnSpPr>
        <p:spPr>
          <a:xfrm>
            <a:off x="5372976" y="5832900"/>
            <a:ext cx="335128" cy="332047"/>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a:stCxn id="100" idx="4"/>
            <a:endCxn id="71" idx="3"/>
          </p:cNvCxnSpPr>
          <p:nvPr/>
        </p:nvCxnSpPr>
        <p:spPr>
          <a:xfrm flipH="1">
            <a:off x="7228558" y="5822046"/>
            <a:ext cx="402980" cy="342901"/>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111" name="Rectangle 110"/>
          <p:cNvSpPr/>
          <p:nvPr/>
        </p:nvSpPr>
        <p:spPr>
          <a:xfrm>
            <a:off x="4201324" y="4858510"/>
            <a:ext cx="2006640" cy="369332"/>
          </a:xfrm>
          <a:prstGeom prst="rect">
            <a:avLst/>
          </a:prstGeom>
        </p:spPr>
        <p:txBody>
          <a:bodyPr wrap="none">
            <a:spAutoFit/>
          </a:bodyPr>
          <a:lstStyle/>
          <a:p>
            <a:r>
              <a:rPr lang="en-US" b="1" dirty="0" err="1" smtClean="0">
                <a:solidFill>
                  <a:srgbClr val="4F81BD">
                    <a:lumMod val="75000"/>
                  </a:srgbClr>
                </a:solidFill>
                <a:latin typeface="Calibri"/>
              </a:rPr>
              <a:t>Postflight</a:t>
            </a:r>
            <a:r>
              <a:rPr lang="en-US" b="1" dirty="0" smtClean="0">
                <a:solidFill>
                  <a:srgbClr val="4F81BD">
                    <a:lumMod val="75000"/>
                  </a:srgbClr>
                </a:solidFill>
                <a:latin typeface="Calibri"/>
              </a:rPr>
              <a:t> Research</a:t>
            </a:r>
            <a:endParaRPr lang="en-US" dirty="0">
              <a:solidFill>
                <a:prstClr val="black"/>
              </a:solidFill>
              <a:latin typeface="Calibri"/>
            </a:endParaRPr>
          </a:p>
        </p:txBody>
      </p:sp>
      <p:grpSp>
        <p:nvGrpSpPr>
          <p:cNvPr id="80" name="Group 79"/>
          <p:cNvGrpSpPr/>
          <p:nvPr/>
        </p:nvGrpSpPr>
        <p:grpSpPr>
          <a:xfrm>
            <a:off x="5708104" y="5898247"/>
            <a:ext cx="1520454" cy="533400"/>
            <a:chOff x="5486400" y="6096000"/>
            <a:chExt cx="1520454" cy="533400"/>
          </a:xfrm>
        </p:grpSpPr>
        <p:sp>
          <p:nvSpPr>
            <p:cNvPr id="71" name="Rectangle 70"/>
            <p:cNvSpPr/>
            <p:nvPr/>
          </p:nvSpPr>
          <p:spPr>
            <a:xfrm>
              <a:off x="5486400" y="6096000"/>
              <a:ext cx="1520454" cy="5334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1F497D"/>
                  </a:solidFill>
                  <a:latin typeface="Calibri"/>
                </a:rPr>
                <a:t>Publications</a:t>
              </a:r>
              <a:endParaRPr lang="en-US" sz="1400" dirty="0">
                <a:solidFill>
                  <a:srgbClr val="1F497D"/>
                </a:solidFill>
                <a:latin typeface="Calibri"/>
              </a:endParaRPr>
            </a:p>
          </p:txBody>
        </p:sp>
        <p:sp>
          <p:nvSpPr>
            <p:cNvPr id="112" name="Rectangle 111"/>
            <p:cNvSpPr/>
            <p:nvPr/>
          </p:nvSpPr>
          <p:spPr>
            <a:xfrm>
              <a:off x="5687347" y="6096000"/>
              <a:ext cx="1158511" cy="5334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1F497D"/>
                </a:solidFill>
                <a:latin typeface="Calibri"/>
              </a:endParaRPr>
            </a:p>
          </p:txBody>
        </p:sp>
      </p:grpSp>
      <p:cxnSp>
        <p:nvCxnSpPr>
          <p:cNvPr id="115" name="Straight Arrow Connector 114"/>
          <p:cNvCxnSpPr>
            <a:stCxn id="96" idx="6"/>
          </p:cNvCxnSpPr>
          <p:nvPr/>
        </p:nvCxnSpPr>
        <p:spPr>
          <a:xfrm>
            <a:off x="6236711" y="5528100"/>
            <a:ext cx="558309" cy="1489"/>
          </a:xfrm>
          <a:prstGeom prst="straightConnector1">
            <a:avLst/>
          </a:prstGeom>
          <a:ln w="25400">
            <a:tailEnd type="arrow"/>
          </a:ln>
        </p:spPr>
        <p:style>
          <a:lnRef idx="1">
            <a:schemeClr val="accent1"/>
          </a:lnRef>
          <a:fillRef idx="0">
            <a:schemeClr val="accent1"/>
          </a:fillRef>
          <a:effectRef idx="0">
            <a:schemeClr val="accent1"/>
          </a:effectRef>
          <a:fontRef idx="minor">
            <a:schemeClr val="tx1"/>
          </a:fontRef>
        </p:style>
      </p:cxnSp>
      <p:sp>
        <p:nvSpPr>
          <p:cNvPr id="131" name="Down Arrow 130"/>
          <p:cNvSpPr/>
          <p:nvPr/>
        </p:nvSpPr>
        <p:spPr>
          <a:xfrm>
            <a:off x="5494379" y="4145980"/>
            <a:ext cx="129515" cy="68546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57" name="Flowchart: Alternate Process 56"/>
          <p:cNvSpPr/>
          <p:nvPr/>
        </p:nvSpPr>
        <p:spPr>
          <a:xfrm>
            <a:off x="5339638" y="1131152"/>
            <a:ext cx="1420837" cy="290362"/>
          </a:xfrm>
          <a:prstGeom prst="flowChartAlternateProcess">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100" b="1" dirty="0" smtClean="0">
                <a:solidFill>
                  <a:srgbClr val="4F81BD">
                    <a:lumMod val="75000"/>
                  </a:srgbClr>
                </a:solidFill>
                <a:latin typeface="Calibri"/>
              </a:rPr>
              <a:t>Data Maintenance</a:t>
            </a:r>
            <a:endParaRPr lang="en-US" sz="1100" b="1" dirty="0">
              <a:solidFill>
                <a:srgbClr val="4F81BD">
                  <a:lumMod val="75000"/>
                </a:srgbClr>
              </a:solidFill>
              <a:latin typeface="Calibri"/>
            </a:endParaRPr>
          </a:p>
        </p:txBody>
      </p:sp>
      <p:sp>
        <p:nvSpPr>
          <p:cNvPr id="59" name="Flowchart: Alternate Process 58"/>
          <p:cNvSpPr/>
          <p:nvPr/>
        </p:nvSpPr>
        <p:spPr>
          <a:xfrm>
            <a:off x="5343782" y="1866187"/>
            <a:ext cx="1420837" cy="290362"/>
          </a:xfrm>
          <a:prstGeom prst="flowChartAlternateProcess">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100" b="1" dirty="0" smtClean="0">
                <a:solidFill>
                  <a:srgbClr val="4F81BD">
                    <a:lumMod val="75000"/>
                  </a:srgbClr>
                </a:solidFill>
                <a:latin typeface="Calibri"/>
              </a:rPr>
              <a:t>Format Translation</a:t>
            </a:r>
            <a:endParaRPr lang="en-US" sz="1100" b="1" dirty="0">
              <a:solidFill>
                <a:srgbClr val="4F81BD">
                  <a:lumMod val="75000"/>
                </a:srgbClr>
              </a:solidFill>
              <a:latin typeface="Calibri"/>
            </a:endParaRPr>
          </a:p>
        </p:txBody>
      </p:sp>
      <p:sp>
        <p:nvSpPr>
          <p:cNvPr id="61" name="Flowchart: Alternate Process 60"/>
          <p:cNvSpPr/>
          <p:nvPr/>
        </p:nvSpPr>
        <p:spPr>
          <a:xfrm rot="5400000">
            <a:off x="7077949" y="2811343"/>
            <a:ext cx="2065632" cy="1497038"/>
          </a:xfrm>
          <a:prstGeom prst="flowChartAlternateProcess">
            <a:avLst/>
          </a:prstGeom>
          <a:no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400" b="1" dirty="0">
              <a:solidFill>
                <a:srgbClr val="4F81BD">
                  <a:lumMod val="75000"/>
                </a:srgbClr>
              </a:solidFill>
              <a:latin typeface="Calibri"/>
            </a:endParaRPr>
          </a:p>
        </p:txBody>
      </p:sp>
      <p:sp>
        <p:nvSpPr>
          <p:cNvPr id="72" name="Down Arrow 71"/>
          <p:cNvSpPr/>
          <p:nvPr/>
        </p:nvSpPr>
        <p:spPr>
          <a:xfrm>
            <a:off x="6573558" y="2179857"/>
            <a:ext cx="122511" cy="261706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14" name="Up-Down Arrow 13"/>
          <p:cNvSpPr/>
          <p:nvPr/>
        </p:nvSpPr>
        <p:spPr>
          <a:xfrm rot="5400000">
            <a:off x="6969387" y="1400359"/>
            <a:ext cx="181296" cy="530030"/>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73" name="Down Arrow 72"/>
          <p:cNvSpPr/>
          <p:nvPr/>
        </p:nvSpPr>
        <p:spPr>
          <a:xfrm rot="-2700000" flipV="1">
            <a:off x="7091670" y="2143953"/>
            <a:ext cx="142652" cy="70731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74" name="Down Arrow 73"/>
          <p:cNvSpPr/>
          <p:nvPr/>
        </p:nvSpPr>
        <p:spPr>
          <a:xfrm flipV="1">
            <a:off x="8077200" y="4602846"/>
            <a:ext cx="87027" cy="46059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66" name="TextBox 65"/>
          <p:cNvSpPr txBox="1"/>
          <p:nvPr/>
        </p:nvSpPr>
        <p:spPr>
          <a:xfrm>
            <a:off x="7421177" y="2316846"/>
            <a:ext cx="1263659" cy="276999"/>
          </a:xfrm>
          <a:prstGeom prst="rect">
            <a:avLst/>
          </a:prstGeom>
          <a:noFill/>
        </p:spPr>
        <p:txBody>
          <a:bodyPr wrap="square" rtlCol="0">
            <a:spAutoFit/>
          </a:bodyPr>
          <a:lstStyle/>
          <a:p>
            <a:pPr algn="ctr"/>
            <a:r>
              <a:rPr lang="en-US" sz="1200" i="1" dirty="0" smtClean="0">
                <a:solidFill>
                  <a:prstClr val="black"/>
                </a:solidFill>
                <a:latin typeface="Calibri"/>
              </a:rPr>
              <a:t>Results Support</a:t>
            </a:r>
            <a:endParaRPr lang="en-US" sz="1200" i="1" dirty="0">
              <a:solidFill>
                <a:prstClr val="black"/>
              </a:solidFill>
              <a:latin typeface="Calibri"/>
            </a:endParaRPr>
          </a:p>
        </p:txBody>
      </p:sp>
      <p:sp>
        <p:nvSpPr>
          <p:cNvPr id="76" name="Rectangle 75"/>
          <p:cNvSpPr/>
          <p:nvPr/>
        </p:nvSpPr>
        <p:spPr>
          <a:xfrm>
            <a:off x="7463507" y="3917046"/>
            <a:ext cx="1255104" cy="6096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a:r>
              <a:rPr lang="en-US" sz="1400" b="1" dirty="0" smtClean="0">
                <a:solidFill>
                  <a:srgbClr val="4F81BD">
                    <a:lumMod val="75000"/>
                  </a:srgbClr>
                </a:solidFill>
                <a:latin typeface="Calibri"/>
              </a:rPr>
              <a:t>New Higher Order Data Products*</a:t>
            </a:r>
            <a:endParaRPr lang="en-US" sz="1400" b="1" dirty="0">
              <a:solidFill>
                <a:srgbClr val="4F81BD">
                  <a:lumMod val="75000"/>
                </a:srgbClr>
              </a:solidFill>
              <a:latin typeface="Calibri"/>
            </a:endParaRPr>
          </a:p>
        </p:txBody>
      </p:sp>
      <p:sp>
        <p:nvSpPr>
          <p:cNvPr id="70" name="Date Placeholder 3"/>
          <p:cNvSpPr>
            <a:spLocks noGrp="1"/>
          </p:cNvSpPr>
          <p:nvPr>
            <p:ph type="dt" sz="half" idx="10"/>
          </p:nvPr>
        </p:nvSpPr>
        <p:spPr>
          <a:xfrm>
            <a:off x="487440" y="6433831"/>
            <a:ext cx="2133600" cy="365125"/>
          </a:xfrm>
          <a:prstGeom prst="rect">
            <a:avLst/>
          </a:prstGeom>
        </p:spPr>
        <p:txBody>
          <a:bodyPr anchor="ctr"/>
          <a:lstStyle>
            <a:lvl1pPr>
              <a:defRPr sz="1400" b="1">
                <a:latin typeface="Arial"/>
                <a:cs typeface="Arial"/>
              </a:defRPr>
            </a:lvl1pPr>
          </a:lstStyle>
          <a:p>
            <a:r>
              <a:rPr lang="en-US" smtClean="0">
                <a:solidFill>
                  <a:prstClr val="black"/>
                </a:solidFill>
              </a:rPr>
              <a:t>14 January 2016</a:t>
            </a:r>
            <a:endParaRPr lang="en-US" dirty="0">
              <a:solidFill>
                <a:prstClr val="black"/>
              </a:solidFill>
            </a:endParaRPr>
          </a:p>
        </p:txBody>
      </p:sp>
      <p:sp>
        <p:nvSpPr>
          <p:cNvPr id="75" name="Footer Placeholder 4"/>
          <p:cNvSpPr>
            <a:spLocks noGrp="1"/>
          </p:cNvSpPr>
          <p:nvPr>
            <p:ph type="ftr" sz="quarter" idx="11"/>
          </p:nvPr>
        </p:nvSpPr>
        <p:spPr>
          <a:xfrm>
            <a:off x="2811452" y="6433831"/>
            <a:ext cx="5024720" cy="365125"/>
          </a:xfrm>
        </p:spPr>
        <p:txBody>
          <a:bodyPr/>
          <a:lstStyle>
            <a:lvl1pPr>
              <a:defRPr sz="1400" b="1">
                <a:latin typeface="Arial"/>
                <a:cs typeface="Arial"/>
              </a:defRPr>
            </a:lvl1pPr>
          </a:lstStyle>
          <a:p>
            <a:pPr algn="l"/>
            <a:r>
              <a:rPr lang="en-US" dirty="0">
                <a:solidFill>
                  <a:schemeClr val="tx1"/>
                </a:solidFill>
              </a:rPr>
              <a:t>Collaborative Life Sciences Data </a:t>
            </a:r>
            <a:r>
              <a:rPr lang="en-US" dirty="0" smtClean="0">
                <a:solidFill>
                  <a:schemeClr val="tx1"/>
                </a:solidFill>
              </a:rPr>
              <a:t>TEM </a:t>
            </a:r>
            <a:r>
              <a:rPr lang="en-US" dirty="0" smtClean="0">
                <a:solidFill>
                  <a:srgbClr val="000000"/>
                </a:solidFill>
              </a:rPr>
              <a:t>| Michael Skidmore                      </a:t>
            </a:r>
            <a:endParaRPr lang="en-US" dirty="0">
              <a:solidFill>
                <a:srgbClr val="000000"/>
              </a:solidFill>
            </a:endParaRPr>
          </a:p>
        </p:txBody>
      </p:sp>
      <p:sp>
        <p:nvSpPr>
          <p:cNvPr id="77" name="Slide Number Placeholder 1"/>
          <p:cNvSpPr>
            <a:spLocks noGrp="1"/>
          </p:cNvSpPr>
          <p:nvPr>
            <p:ph type="sldNum" sz="quarter" idx="12"/>
          </p:nvPr>
        </p:nvSpPr>
        <p:spPr>
          <a:xfrm>
            <a:off x="7786154" y="6433831"/>
            <a:ext cx="1085865" cy="365125"/>
          </a:xfrm>
        </p:spPr>
        <p:txBody>
          <a:bodyPr/>
          <a:lstStyle/>
          <a:p>
            <a:fld id="{ACB3FC3A-BC2E-574C-8636-F1DF04588B6F}" type="slidenum">
              <a:rPr lang="en-US" sz="1400" b="1" smtClean="0">
                <a:solidFill>
                  <a:srgbClr val="000000"/>
                </a:solidFill>
                <a:latin typeface="Arial"/>
                <a:cs typeface="Arial"/>
              </a:rPr>
              <a:pPr/>
              <a:t>19</a:t>
            </a:fld>
            <a:endParaRPr lang="en-US" sz="1400" b="1" dirty="0">
              <a:solidFill>
                <a:srgbClr val="000000"/>
              </a:solidFill>
              <a:latin typeface="Arial"/>
              <a:cs typeface="Arial"/>
            </a:endParaRPr>
          </a:p>
        </p:txBody>
      </p:sp>
    </p:spTree>
    <p:extLst>
      <p:ext uri="{BB962C8B-B14F-4D97-AF65-F5344CB8AC3E}">
        <p14:creationId xmlns:p14="http://schemas.microsoft.com/office/powerpoint/2010/main" val="9607413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180925" y="299592"/>
            <a:ext cx="3071474" cy="584776"/>
          </a:xfrm>
          <a:prstGeom prst="rect">
            <a:avLst/>
          </a:prstGeom>
        </p:spPr>
        <p:txBody>
          <a:bodyPr wrap="none" rtlCol="0">
            <a:spAutoFit/>
          </a:bodyPr>
          <a:lstStyle/>
          <a:p>
            <a:r>
              <a:rPr lang="en-US" sz="3200" b="1" dirty="0" smtClean="0">
                <a:solidFill>
                  <a:srgbClr val="000000"/>
                </a:solidFill>
                <a:latin typeface="Calibri"/>
              </a:rPr>
              <a:t>What Is GeneLab</a:t>
            </a:r>
          </a:p>
        </p:txBody>
      </p:sp>
      <p:sp>
        <p:nvSpPr>
          <p:cNvPr id="4" name="Content Placeholder 3"/>
          <p:cNvSpPr>
            <a:spLocks noGrp="1"/>
          </p:cNvSpPr>
          <p:nvPr>
            <p:ph idx="1"/>
          </p:nvPr>
        </p:nvSpPr>
        <p:spPr>
          <a:xfrm>
            <a:off x="288086" y="1066853"/>
            <a:ext cx="8587525" cy="5199286"/>
          </a:xfrm>
          <a:ln>
            <a:solidFill>
              <a:schemeClr val="bg1">
                <a:lumMod val="50000"/>
              </a:schemeClr>
            </a:solidFill>
          </a:ln>
        </p:spPr>
        <p:txBody>
          <a:bodyPr>
            <a:noAutofit/>
          </a:bodyPr>
          <a:lstStyle/>
          <a:p>
            <a:r>
              <a:rPr lang="en-US" sz="1800" dirty="0"/>
              <a:t>At its core, the GeneLab concept is focused on </a:t>
            </a:r>
            <a:r>
              <a:rPr lang="en-US" sz="1800" dirty="0" err="1"/>
              <a:t>omics</a:t>
            </a:r>
            <a:r>
              <a:rPr lang="en-US" sz="1800" dirty="0"/>
              <a:t> data and is based on an Open Science ideal. </a:t>
            </a:r>
            <a:endParaRPr lang="en-US" sz="1800" dirty="0" smtClean="0"/>
          </a:p>
          <a:p>
            <a:r>
              <a:rPr lang="en-US" sz="1800" dirty="0" err="1" smtClean="0"/>
              <a:t>Omics</a:t>
            </a:r>
            <a:r>
              <a:rPr lang="en-US" sz="1800" dirty="0" smtClean="0"/>
              <a:t> </a:t>
            </a:r>
            <a:r>
              <a:rPr lang="en-US" sz="1800" dirty="0"/>
              <a:t>data is derived from modern analytical techniques such as those employed in genomics (DNA), </a:t>
            </a:r>
            <a:r>
              <a:rPr lang="en-US" sz="1800" dirty="0" err="1"/>
              <a:t>transcriptomics</a:t>
            </a:r>
            <a:r>
              <a:rPr lang="en-US" sz="1800" dirty="0"/>
              <a:t> (RNA), proteomics (proteins), and metabolomics (metabolic products).  </a:t>
            </a:r>
            <a:endParaRPr lang="en-US" sz="1800" dirty="0" smtClean="0"/>
          </a:p>
          <a:p>
            <a:r>
              <a:rPr lang="en-US" sz="1800" dirty="0" smtClean="0"/>
              <a:t>Open </a:t>
            </a:r>
            <a:r>
              <a:rPr lang="en-US" sz="1800" dirty="0"/>
              <a:t>Science, as defined by Wikipedia (https://</a:t>
            </a:r>
            <a:r>
              <a:rPr lang="en-US" sz="1800" dirty="0" err="1"/>
              <a:t>en.wikipedia.org</a:t>
            </a:r>
            <a:r>
              <a:rPr lang="en-US" sz="1800" dirty="0"/>
              <a:t>/wiki/</a:t>
            </a:r>
            <a:r>
              <a:rPr lang="en-US" sz="1800" dirty="0" err="1"/>
              <a:t>Open_science</a:t>
            </a:r>
            <a:r>
              <a:rPr lang="en-US" sz="1800" dirty="0"/>
              <a:t>) is “the movement to make scientific research, data, and dissemination accessible to all levels of an inquiring society, amateur or professional. It encompasses practices such as publishing open research, campaigning for open access, encouraging scientists to practice open notebook science, and generally making it easier to publish and communicate scientific knowledge.”  </a:t>
            </a:r>
            <a:endParaRPr lang="en-US" sz="1800" dirty="0" smtClean="0"/>
          </a:p>
          <a:p>
            <a:r>
              <a:rPr lang="en-US" sz="1800" dirty="0" smtClean="0"/>
              <a:t>So</a:t>
            </a:r>
            <a:r>
              <a:rPr lang="en-US" sz="1800" dirty="0"/>
              <a:t>, in the service of the Open Science ideal, GeneLab provides a continually evolving set of </a:t>
            </a:r>
            <a:r>
              <a:rPr lang="en-US" sz="1800" dirty="0" err="1"/>
              <a:t>omics</a:t>
            </a:r>
            <a:r>
              <a:rPr lang="en-US" sz="1800" dirty="0"/>
              <a:t> related services that will facilitate that ideal.</a:t>
            </a:r>
          </a:p>
        </p:txBody>
      </p:sp>
      <p:pic>
        <p:nvPicPr>
          <p:cNvPr id="5" name="Picture 4"/>
          <p:cNvPicPr>
            <a:picLocks noChangeAspect="1"/>
          </p:cNvPicPr>
          <p:nvPr/>
        </p:nvPicPr>
        <p:blipFill>
          <a:blip r:embed="rId3"/>
          <a:stretch>
            <a:fillRect/>
          </a:stretch>
        </p:blipFill>
        <p:spPr>
          <a:xfrm>
            <a:off x="12472" y="239678"/>
            <a:ext cx="3523095" cy="644690"/>
          </a:xfrm>
          <a:prstGeom prst="rect">
            <a:avLst/>
          </a:prstGeom>
        </p:spPr>
      </p:pic>
      <p:sp>
        <p:nvSpPr>
          <p:cNvPr id="10" name="Date Placeholder 3"/>
          <p:cNvSpPr>
            <a:spLocks noGrp="1"/>
          </p:cNvSpPr>
          <p:nvPr>
            <p:ph type="dt" sz="half" idx="10"/>
          </p:nvPr>
        </p:nvSpPr>
        <p:spPr>
          <a:xfrm>
            <a:off x="487440" y="6431940"/>
            <a:ext cx="2133600" cy="365125"/>
          </a:xfrm>
          <a:prstGeom prst="rect">
            <a:avLst/>
          </a:prstGeom>
        </p:spPr>
        <p:txBody>
          <a:bodyPr anchor="ctr"/>
          <a:lstStyle>
            <a:lvl1pPr>
              <a:defRPr sz="1400" b="1">
                <a:latin typeface="Arial"/>
                <a:cs typeface="Arial"/>
              </a:defRPr>
            </a:lvl1pPr>
          </a:lstStyle>
          <a:p>
            <a:r>
              <a:rPr lang="en-US" smtClean="0">
                <a:solidFill>
                  <a:prstClr val="black"/>
                </a:solidFill>
              </a:rPr>
              <a:t>14 January 2016</a:t>
            </a:r>
            <a:endParaRPr lang="en-US" dirty="0">
              <a:solidFill>
                <a:prstClr val="black"/>
              </a:solidFill>
            </a:endParaRPr>
          </a:p>
        </p:txBody>
      </p:sp>
      <p:sp>
        <p:nvSpPr>
          <p:cNvPr id="11" name="Footer Placeholder 4"/>
          <p:cNvSpPr>
            <a:spLocks noGrp="1"/>
          </p:cNvSpPr>
          <p:nvPr>
            <p:ph type="ftr" sz="quarter" idx="11"/>
          </p:nvPr>
        </p:nvSpPr>
        <p:spPr>
          <a:xfrm>
            <a:off x="2811451" y="6431940"/>
            <a:ext cx="6064159" cy="365125"/>
          </a:xfrm>
        </p:spPr>
        <p:txBody>
          <a:bodyPr/>
          <a:lstStyle>
            <a:lvl1pPr>
              <a:defRPr sz="1400" b="1">
                <a:latin typeface="Arial"/>
                <a:cs typeface="Arial"/>
              </a:defRPr>
            </a:lvl1pPr>
          </a:lstStyle>
          <a:p>
            <a:pPr algn="l"/>
            <a:r>
              <a:rPr lang="en-US" smtClean="0">
                <a:solidFill>
                  <a:srgbClr val="000000"/>
                </a:solidFill>
              </a:rPr>
              <a:t>Collaborative Life Sciences Data TEM | Michael Skidmore                      </a:t>
            </a:r>
            <a:endParaRPr lang="en-US" dirty="0">
              <a:solidFill>
                <a:srgbClr val="000000"/>
              </a:solidFill>
            </a:endParaRPr>
          </a:p>
        </p:txBody>
      </p:sp>
      <p:sp>
        <p:nvSpPr>
          <p:cNvPr id="8" name="Slide Number Placeholder 1"/>
          <p:cNvSpPr>
            <a:spLocks noGrp="1"/>
          </p:cNvSpPr>
          <p:nvPr>
            <p:ph type="sldNum" sz="quarter" idx="12"/>
          </p:nvPr>
        </p:nvSpPr>
        <p:spPr>
          <a:xfrm>
            <a:off x="7786154" y="6435721"/>
            <a:ext cx="1085865" cy="365125"/>
          </a:xfrm>
        </p:spPr>
        <p:txBody>
          <a:bodyPr/>
          <a:lstStyle/>
          <a:p>
            <a:fld id="{ACB3FC3A-BC2E-574C-8636-F1DF04588B6F}" type="slidenum">
              <a:rPr lang="en-US" smtClean="0">
                <a:solidFill>
                  <a:srgbClr val="000000"/>
                </a:solidFill>
              </a:rPr>
              <a:pPr/>
              <a:t>2</a:t>
            </a:fld>
            <a:endParaRPr lang="en-US" dirty="0">
              <a:solidFill>
                <a:srgbClr val="000000"/>
              </a:solidFill>
            </a:endParaRPr>
          </a:p>
        </p:txBody>
      </p:sp>
    </p:spTree>
    <p:extLst>
      <p:ext uri="{BB962C8B-B14F-4D97-AF65-F5344CB8AC3E}">
        <p14:creationId xmlns:p14="http://schemas.microsoft.com/office/powerpoint/2010/main" val="416914442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180925" y="299592"/>
            <a:ext cx="3071474" cy="584776"/>
          </a:xfrm>
          <a:prstGeom prst="rect">
            <a:avLst/>
          </a:prstGeom>
        </p:spPr>
        <p:txBody>
          <a:bodyPr wrap="none" rtlCol="0">
            <a:spAutoFit/>
          </a:bodyPr>
          <a:lstStyle/>
          <a:p>
            <a:r>
              <a:rPr lang="en-US" sz="3200" b="1" dirty="0" smtClean="0">
                <a:solidFill>
                  <a:srgbClr val="000000"/>
                </a:solidFill>
                <a:latin typeface="Calibri"/>
              </a:rPr>
              <a:t>What Is GeneLab</a:t>
            </a:r>
          </a:p>
        </p:txBody>
      </p:sp>
      <p:sp>
        <p:nvSpPr>
          <p:cNvPr id="4" name="Content Placeholder 3"/>
          <p:cNvSpPr>
            <a:spLocks noGrp="1"/>
          </p:cNvSpPr>
          <p:nvPr>
            <p:ph idx="1"/>
          </p:nvPr>
        </p:nvSpPr>
        <p:spPr>
          <a:xfrm>
            <a:off x="288086" y="1066853"/>
            <a:ext cx="8587525" cy="5199286"/>
          </a:xfrm>
          <a:ln>
            <a:solidFill>
              <a:schemeClr val="bg1">
                <a:lumMod val="50000"/>
              </a:schemeClr>
            </a:solidFill>
          </a:ln>
        </p:spPr>
        <p:txBody>
          <a:bodyPr>
            <a:noAutofit/>
          </a:bodyPr>
          <a:lstStyle/>
          <a:p>
            <a:r>
              <a:rPr lang="en-US" sz="1800" dirty="0"/>
              <a:t>The mission of GeneLab is to maximize the utilization of the valuable biological research resources aboard the ISS by collecting genomic, </a:t>
            </a:r>
            <a:r>
              <a:rPr lang="en-US" sz="1800" dirty="0" err="1"/>
              <a:t>transcriptomic</a:t>
            </a:r>
            <a:r>
              <a:rPr lang="en-US" sz="1800" dirty="0"/>
              <a:t>, proteomic, and metabolomics data (known as “</a:t>
            </a:r>
            <a:r>
              <a:rPr lang="en-US" sz="1800" dirty="0" err="1"/>
              <a:t>omics</a:t>
            </a:r>
            <a:r>
              <a:rPr lang="en-US" sz="1800" dirty="0"/>
              <a:t>”) to enable exploration of the molecular network responses of terrestrial biology to the space environment, and to make all the data available to a worldwide network of researchers in an open-access database.</a:t>
            </a:r>
          </a:p>
          <a:p>
            <a:r>
              <a:rPr lang="en-US" sz="1800" dirty="0"/>
              <a:t>The multi-year GeneLab project is both a </a:t>
            </a:r>
            <a:r>
              <a:rPr lang="en-US" sz="1800" b="1" u="sng" dirty="0"/>
              <a:t>science collaboration</a:t>
            </a:r>
            <a:r>
              <a:rPr lang="en-US" sz="1800" dirty="0"/>
              <a:t> initiative to </a:t>
            </a:r>
            <a:r>
              <a:rPr lang="en-US" sz="1800" i="1" dirty="0"/>
              <a:t>maximize the </a:t>
            </a:r>
            <a:r>
              <a:rPr lang="en-US" sz="1800" i="1" dirty="0" err="1"/>
              <a:t>omics</a:t>
            </a:r>
            <a:r>
              <a:rPr lang="en-US" sz="1800" i="1" dirty="0"/>
              <a:t> data collected from spaceflight and from ground simulations of microgravity and radiation experiments</a:t>
            </a:r>
            <a:r>
              <a:rPr lang="en-US" sz="1800" dirty="0"/>
              <a:t>; as well as a </a:t>
            </a:r>
            <a:r>
              <a:rPr lang="en-US" sz="1800" b="1" u="sng" dirty="0"/>
              <a:t>data system</a:t>
            </a:r>
            <a:r>
              <a:rPr lang="en-US" sz="1800" dirty="0"/>
              <a:t> effort to establish a </a:t>
            </a:r>
            <a:r>
              <a:rPr lang="en-US" sz="1800" i="1" dirty="0"/>
              <a:t>public bioinformatics repository and collaborative analysis space</a:t>
            </a:r>
            <a:r>
              <a:rPr lang="en-US" sz="1800" dirty="0"/>
              <a:t> for these data. </a:t>
            </a:r>
          </a:p>
        </p:txBody>
      </p:sp>
      <p:pic>
        <p:nvPicPr>
          <p:cNvPr id="5" name="Picture 4"/>
          <p:cNvPicPr>
            <a:picLocks noChangeAspect="1"/>
          </p:cNvPicPr>
          <p:nvPr/>
        </p:nvPicPr>
        <p:blipFill>
          <a:blip r:embed="rId3"/>
          <a:stretch>
            <a:fillRect/>
          </a:stretch>
        </p:blipFill>
        <p:spPr>
          <a:xfrm>
            <a:off x="12472" y="239678"/>
            <a:ext cx="3523095" cy="644690"/>
          </a:xfrm>
          <a:prstGeom prst="rect">
            <a:avLst/>
          </a:prstGeom>
        </p:spPr>
      </p:pic>
      <p:sp>
        <p:nvSpPr>
          <p:cNvPr id="10" name="Date Placeholder 3"/>
          <p:cNvSpPr>
            <a:spLocks noGrp="1"/>
          </p:cNvSpPr>
          <p:nvPr>
            <p:ph type="dt" sz="half" idx="10"/>
          </p:nvPr>
        </p:nvSpPr>
        <p:spPr>
          <a:xfrm>
            <a:off x="487440" y="6431940"/>
            <a:ext cx="2133600" cy="365125"/>
          </a:xfrm>
          <a:prstGeom prst="rect">
            <a:avLst/>
          </a:prstGeom>
        </p:spPr>
        <p:txBody>
          <a:bodyPr anchor="ctr"/>
          <a:lstStyle>
            <a:lvl1pPr>
              <a:defRPr sz="1400" b="1">
                <a:latin typeface="Arial"/>
                <a:cs typeface="Arial"/>
              </a:defRPr>
            </a:lvl1pPr>
          </a:lstStyle>
          <a:p>
            <a:r>
              <a:rPr lang="en-US" smtClean="0">
                <a:solidFill>
                  <a:prstClr val="black"/>
                </a:solidFill>
              </a:rPr>
              <a:t>14 January 2016</a:t>
            </a:r>
            <a:endParaRPr lang="en-US" dirty="0">
              <a:solidFill>
                <a:prstClr val="black"/>
              </a:solidFill>
            </a:endParaRPr>
          </a:p>
        </p:txBody>
      </p:sp>
      <p:sp>
        <p:nvSpPr>
          <p:cNvPr id="11" name="Footer Placeholder 4"/>
          <p:cNvSpPr>
            <a:spLocks noGrp="1"/>
          </p:cNvSpPr>
          <p:nvPr>
            <p:ph type="ftr" sz="quarter" idx="11"/>
          </p:nvPr>
        </p:nvSpPr>
        <p:spPr>
          <a:xfrm>
            <a:off x="2811451" y="6431940"/>
            <a:ext cx="6064159" cy="365125"/>
          </a:xfrm>
        </p:spPr>
        <p:txBody>
          <a:bodyPr/>
          <a:lstStyle>
            <a:lvl1pPr>
              <a:defRPr sz="1400" b="1">
                <a:latin typeface="Arial"/>
                <a:cs typeface="Arial"/>
              </a:defRPr>
            </a:lvl1pPr>
          </a:lstStyle>
          <a:p>
            <a:pPr algn="l"/>
            <a:r>
              <a:rPr lang="en-US" smtClean="0">
                <a:solidFill>
                  <a:srgbClr val="000000"/>
                </a:solidFill>
              </a:rPr>
              <a:t>Collaborative Life Sciences Data TEM | Michael Skidmore                      </a:t>
            </a:r>
            <a:endParaRPr lang="en-US" dirty="0">
              <a:solidFill>
                <a:srgbClr val="000000"/>
              </a:solidFill>
            </a:endParaRPr>
          </a:p>
        </p:txBody>
      </p:sp>
      <p:sp>
        <p:nvSpPr>
          <p:cNvPr id="8" name="Slide Number Placeholder 1"/>
          <p:cNvSpPr>
            <a:spLocks noGrp="1"/>
          </p:cNvSpPr>
          <p:nvPr>
            <p:ph type="sldNum" sz="quarter" idx="12"/>
          </p:nvPr>
        </p:nvSpPr>
        <p:spPr>
          <a:xfrm>
            <a:off x="7786154" y="6435721"/>
            <a:ext cx="1085865" cy="365125"/>
          </a:xfrm>
        </p:spPr>
        <p:txBody>
          <a:bodyPr/>
          <a:lstStyle/>
          <a:p>
            <a:fld id="{ACB3FC3A-BC2E-574C-8636-F1DF04588B6F}" type="slidenum">
              <a:rPr lang="en-US" smtClean="0">
                <a:solidFill>
                  <a:srgbClr val="000000"/>
                </a:solidFill>
              </a:rPr>
              <a:pPr/>
              <a:t>3</a:t>
            </a:fld>
            <a:endParaRPr lang="en-US" dirty="0">
              <a:solidFill>
                <a:srgbClr val="000000"/>
              </a:solidFill>
            </a:endParaRPr>
          </a:p>
        </p:txBody>
      </p:sp>
    </p:spTree>
    <p:extLst>
      <p:ext uri="{BB962C8B-B14F-4D97-AF65-F5344CB8AC3E}">
        <p14:creationId xmlns:p14="http://schemas.microsoft.com/office/powerpoint/2010/main" val="403086210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180925" y="299592"/>
            <a:ext cx="3071474" cy="584776"/>
          </a:xfrm>
          <a:prstGeom prst="rect">
            <a:avLst/>
          </a:prstGeom>
        </p:spPr>
        <p:txBody>
          <a:bodyPr wrap="none" rtlCol="0">
            <a:spAutoFit/>
          </a:bodyPr>
          <a:lstStyle/>
          <a:p>
            <a:r>
              <a:rPr lang="en-US" sz="3200" b="1" dirty="0" smtClean="0">
                <a:solidFill>
                  <a:srgbClr val="000000"/>
                </a:solidFill>
                <a:latin typeface="Calibri"/>
              </a:rPr>
              <a:t>What Is GeneLab</a:t>
            </a:r>
          </a:p>
        </p:txBody>
      </p:sp>
      <p:sp>
        <p:nvSpPr>
          <p:cNvPr id="4" name="Content Placeholder 3"/>
          <p:cNvSpPr>
            <a:spLocks noGrp="1"/>
          </p:cNvSpPr>
          <p:nvPr>
            <p:ph idx="1"/>
          </p:nvPr>
        </p:nvSpPr>
        <p:spPr>
          <a:xfrm>
            <a:off x="288086" y="1066853"/>
            <a:ext cx="8587525" cy="5199286"/>
          </a:xfrm>
          <a:ln>
            <a:solidFill>
              <a:schemeClr val="bg1">
                <a:lumMod val="50000"/>
              </a:schemeClr>
            </a:solidFill>
          </a:ln>
        </p:spPr>
        <p:txBody>
          <a:bodyPr>
            <a:noAutofit/>
          </a:bodyPr>
          <a:lstStyle/>
          <a:p>
            <a:r>
              <a:rPr lang="en-US" sz="1800" dirty="0"/>
              <a:t>Ignoring the underlying management and systems engineering </a:t>
            </a:r>
            <a:r>
              <a:rPr lang="en-US" sz="1800" dirty="0" smtClean="0"/>
              <a:t>activities, there </a:t>
            </a:r>
            <a:r>
              <a:rPr lang="en-US" sz="1800" dirty="0"/>
              <a:t>are roughly 5 discreet functional areas that constitute GeneLab </a:t>
            </a:r>
          </a:p>
          <a:p>
            <a:pPr lvl="0"/>
            <a:r>
              <a:rPr lang="en-US" sz="1800" dirty="0" smtClean="0"/>
              <a:t>1) Science </a:t>
            </a:r>
            <a:r>
              <a:rPr lang="en-US" sz="1800" dirty="0"/>
              <a:t>– Supporting and fostering Open Science is the primary focus of GeneLab</a:t>
            </a:r>
          </a:p>
          <a:p>
            <a:pPr lvl="0"/>
            <a:r>
              <a:rPr lang="en-US" sz="1800" dirty="0" smtClean="0"/>
              <a:t>2) Payloads </a:t>
            </a:r>
            <a:r>
              <a:rPr lang="en-US" sz="1800" dirty="0"/>
              <a:t>and Partnerships</a:t>
            </a:r>
          </a:p>
          <a:p>
            <a:pPr lvl="1"/>
            <a:r>
              <a:rPr lang="en-US" sz="1800" dirty="0"/>
              <a:t>Collaborative Missions – GeneLab collaborations with existing/ongoing research programs</a:t>
            </a:r>
          </a:p>
          <a:p>
            <a:pPr lvl="1"/>
            <a:r>
              <a:rPr lang="en-US" sz="1800" dirty="0"/>
              <a:t>Reference Missions – community-driven reference experiments to generate standard, common, and open reference </a:t>
            </a:r>
            <a:r>
              <a:rPr lang="en-US" sz="1800" dirty="0" smtClean="0"/>
              <a:t>datasets</a:t>
            </a:r>
          </a:p>
          <a:p>
            <a:pPr lvl="1"/>
            <a:r>
              <a:rPr lang="en-US" sz="1800" dirty="0" smtClean="0"/>
              <a:t>Wet </a:t>
            </a:r>
            <a:r>
              <a:rPr lang="en-US" sz="1800" dirty="0"/>
              <a:t>Lab – GeneLab facility to extract DNA, RNA, Proteins, and metabolic biological samples for later processing in an </a:t>
            </a:r>
            <a:r>
              <a:rPr lang="en-US" sz="1800" dirty="0" err="1"/>
              <a:t>omics</a:t>
            </a:r>
            <a:r>
              <a:rPr lang="en-US" sz="1800" dirty="0"/>
              <a:t> </a:t>
            </a:r>
            <a:r>
              <a:rPr lang="en-US" sz="1800" dirty="0" smtClean="0"/>
              <a:t>facility</a:t>
            </a:r>
          </a:p>
          <a:p>
            <a:pPr lvl="1"/>
            <a:r>
              <a:rPr lang="en-US" sz="1800" dirty="0" smtClean="0"/>
              <a:t>Legacy Data</a:t>
            </a:r>
            <a:endParaRPr lang="en-US" sz="1800" dirty="0"/>
          </a:p>
          <a:p>
            <a:r>
              <a:rPr lang="en-US" sz="1800" dirty="0" smtClean="0"/>
              <a:t>3) </a:t>
            </a:r>
            <a:r>
              <a:rPr lang="en-US" sz="1800" dirty="0"/>
              <a:t>Long Term Data Collection/Storage/Dissemination/Analysis – preservation of meticulously curated </a:t>
            </a:r>
            <a:r>
              <a:rPr lang="en-US" sz="1800" dirty="0" err="1"/>
              <a:t>omics</a:t>
            </a:r>
            <a:r>
              <a:rPr lang="en-US" sz="1800" dirty="0"/>
              <a:t> data sets and related detailed metadata in an environment open to all</a:t>
            </a:r>
          </a:p>
          <a:p>
            <a:pPr lvl="0"/>
            <a:r>
              <a:rPr lang="en-US" sz="1800" dirty="0"/>
              <a:t>4</a:t>
            </a:r>
            <a:r>
              <a:rPr lang="en-US" sz="1800" dirty="0" smtClean="0"/>
              <a:t>) Science </a:t>
            </a:r>
            <a:r>
              <a:rPr lang="en-US" sz="1800" dirty="0"/>
              <a:t>Communication – Fostering and maintaining a close relationship with the scientific research community (academic and commercial</a:t>
            </a:r>
            <a:r>
              <a:rPr lang="en-US" sz="1800" dirty="0" smtClean="0"/>
              <a:t>)</a:t>
            </a:r>
            <a:endParaRPr lang="en-US" sz="1800" dirty="0"/>
          </a:p>
        </p:txBody>
      </p:sp>
      <p:pic>
        <p:nvPicPr>
          <p:cNvPr id="5" name="Picture 4"/>
          <p:cNvPicPr>
            <a:picLocks noChangeAspect="1"/>
          </p:cNvPicPr>
          <p:nvPr/>
        </p:nvPicPr>
        <p:blipFill>
          <a:blip r:embed="rId3"/>
          <a:stretch>
            <a:fillRect/>
          </a:stretch>
        </p:blipFill>
        <p:spPr>
          <a:xfrm>
            <a:off x="12472" y="239678"/>
            <a:ext cx="3523095" cy="644690"/>
          </a:xfrm>
          <a:prstGeom prst="rect">
            <a:avLst/>
          </a:prstGeom>
        </p:spPr>
      </p:pic>
      <p:sp>
        <p:nvSpPr>
          <p:cNvPr id="10" name="Date Placeholder 3"/>
          <p:cNvSpPr>
            <a:spLocks noGrp="1"/>
          </p:cNvSpPr>
          <p:nvPr>
            <p:ph type="dt" sz="half" idx="10"/>
          </p:nvPr>
        </p:nvSpPr>
        <p:spPr>
          <a:xfrm>
            <a:off x="487440" y="6431940"/>
            <a:ext cx="2133600" cy="365125"/>
          </a:xfrm>
          <a:prstGeom prst="rect">
            <a:avLst/>
          </a:prstGeom>
        </p:spPr>
        <p:txBody>
          <a:bodyPr anchor="ctr"/>
          <a:lstStyle>
            <a:lvl1pPr>
              <a:defRPr sz="1400" b="1">
                <a:latin typeface="Arial"/>
                <a:cs typeface="Arial"/>
              </a:defRPr>
            </a:lvl1pPr>
          </a:lstStyle>
          <a:p>
            <a:r>
              <a:rPr lang="en-US" smtClean="0">
                <a:solidFill>
                  <a:prstClr val="black"/>
                </a:solidFill>
              </a:rPr>
              <a:t>14 January 2016</a:t>
            </a:r>
            <a:endParaRPr lang="en-US" dirty="0">
              <a:solidFill>
                <a:prstClr val="black"/>
              </a:solidFill>
            </a:endParaRPr>
          </a:p>
        </p:txBody>
      </p:sp>
      <p:sp>
        <p:nvSpPr>
          <p:cNvPr id="11" name="Footer Placeholder 4"/>
          <p:cNvSpPr>
            <a:spLocks noGrp="1"/>
          </p:cNvSpPr>
          <p:nvPr>
            <p:ph type="ftr" sz="quarter" idx="11"/>
          </p:nvPr>
        </p:nvSpPr>
        <p:spPr>
          <a:xfrm>
            <a:off x="2811451" y="6431940"/>
            <a:ext cx="6064159" cy="365125"/>
          </a:xfrm>
        </p:spPr>
        <p:txBody>
          <a:bodyPr/>
          <a:lstStyle>
            <a:lvl1pPr>
              <a:defRPr sz="1400" b="1">
                <a:latin typeface="Arial"/>
                <a:cs typeface="Arial"/>
              </a:defRPr>
            </a:lvl1pPr>
          </a:lstStyle>
          <a:p>
            <a:pPr algn="l"/>
            <a:r>
              <a:rPr lang="en-US" dirty="0" smtClean="0">
                <a:solidFill>
                  <a:srgbClr val="000000"/>
                </a:solidFill>
              </a:rPr>
              <a:t>Collaborative Life Sciences Data TEM | Michael Skidmore                      </a:t>
            </a:r>
            <a:endParaRPr lang="en-US" dirty="0">
              <a:solidFill>
                <a:srgbClr val="000000"/>
              </a:solidFill>
            </a:endParaRPr>
          </a:p>
        </p:txBody>
      </p:sp>
      <p:sp>
        <p:nvSpPr>
          <p:cNvPr id="8" name="Slide Number Placeholder 1"/>
          <p:cNvSpPr>
            <a:spLocks noGrp="1"/>
          </p:cNvSpPr>
          <p:nvPr>
            <p:ph type="sldNum" sz="quarter" idx="12"/>
          </p:nvPr>
        </p:nvSpPr>
        <p:spPr>
          <a:xfrm>
            <a:off x="7786154" y="6435721"/>
            <a:ext cx="1085865" cy="365125"/>
          </a:xfrm>
        </p:spPr>
        <p:txBody>
          <a:bodyPr/>
          <a:lstStyle/>
          <a:p>
            <a:fld id="{ACB3FC3A-BC2E-574C-8636-F1DF04588B6F}" type="slidenum">
              <a:rPr lang="en-US" smtClean="0">
                <a:solidFill>
                  <a:srgbClr val="000000"/>
                </a:solidFill>
              </a:rPr>
              <a:pPr/>
              <a:t>4</a:t>
            </a:fld>
            <a:endParaRPr lang="en-US" dirty="0">
              <a:solidFill>
                <a:srgbClr val="000000"/>
              </a:solidFill>
            </a:endParaRPr>
          </a:p>
        </p:txBody>
      </p:sp>
    </p:spTree>
    <p:extLst>
      <p:ext uri="{BB962C8B-B14F-4D97-AF65-F5344CB8AC3E}">
        <p14:creationId xmlns:p14="http://schemas.microsoft.com/office/powerpoint/2010/main" val="224837600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180925" y="299592"/>
            <a:ext cx="3071474" cy="584776"/>
          </a:xfrm>
          <a:prstGeom prst="rect">
            <a:avLst/>
          </a:prstGeom>
        </p:spPr>
        <p:txBody>
          <a:bodyPr wrap="none" rtlCol="0">
            <a:spAutoFit/>
          </a:bodyPr>
          <a:lstStyle/>
          <a:p>
            <a:r>
              <a:rPr lang="en-US" sz="3200" b="1" dirty="0" smtClean="0">
                <a:solidFill>
                  <a:srgbClr val="000000"/>
                </a:solidFill>
                <a:latin typeface="Calibri"/>
              </a:rPr>
              <a:t>What Is GeneLab</a:t>
            </a:r>
          </a:p>
        </p:txBody>
      </p:sp>
      <p:sp>
        <p:nvSpPr>
          <p:cNvPr id="4" name="Content Placeholder 3"/>
          <p:cNvSpPr>
            <a:spLocks noGrp="1"/>
          </p:cNvSpPr>
          <p:nvPr>
            <p:ph idx="1"/>
          </p:nvPr>
        </p:nvSpPr>
        <p:spPr>
          <a:xfrm>
            <a:off x="288086" y="1066853"/>
            <a:ext cx="8587525" cy="5199286"/>
          </a:xfrm>
          <a:ln>
            <a:solidFill>
              <a:schemeClr val="bg1">
                <a:lumMod val="50000"/>
              </a:schemeClr>
            </a:solidFill>
          </a:ln>
        </p:spPr>
        <p:txBody>
          <a:bodyPr>
            <a:noAutofit/>
          </a:bodyPr>
          <a:lstStyle/>
          <a:p>
            <a:pPr lvl="0"/>
            <a:r>
              <a:rPr lang="en-US" sz="1800" dirty="0" smtClean="0"/>
              <a:t>5) Software </a:t>
            </a:r>
            <a:r>
              <a:rPr lang="en-US" sz="1800" dirty="0"/>
              <a:t>Development </a:t>
            </a:r>
          </a:p>
          <a:p>
            <a:pPr lvl="1"/>
            <a:r>
              <a:rPr lang="en-US" sz="1800" dirty="0"/>
              <a:t>C-Gene – C3 baseline system for Long Term Data Collection / Storage / Dissemination – data entry is tightly controlled </a:t>
            </a:r>
          </a:p>
          <a:p>
            <a:pPr lvl="1"/>
            <a:r>
              <a:rPr lang="en-US" sz="1800" dirty="0"/>
              <a:t>X-Gene – </a:t>
            </a:r>
            <a:r>
              <a:rPr lang="en-US" sz="1800" dirty="0" err="1"/>
              <a:t>E</a:t>
            </a:r>
            <a:r>
              <a:rPr lang="en-US" sz="1800" u="sng" dirty="0" err="1"/>
              <a:t>X</a:t>
            </a:r>
            <a:r>
              <a:rPr lang="en-US" sz="1800" dirty="0" err="1"/>
              <a:t>tended</a:t>
            </a:r>
            <a:r>
              <a:rPr lang="en-US" sz="1800" dirty="0"/>
              <a:t> Analysis functionalities – may eventually incorporate C-Gene </a:t>
            </a:r>
            <a:r>
              <a:rPr lang="en-US" sz="1800" dirty="0" smtClean="0"/>
              <a:t>functionalities</a:t>
            </a:r>
          </a:p>
          <a:p>
            <a:pPr lvl="1"/>
            <a:endParaRPr lang="en-US" sz="1800" dirty="0"/>
          </a:p>
          <a:p>
            <a:pPr lvl="1"/>
            <a:r>
              <a:rPr lang="en-US" sz="1800" dirty="0" smtClean="0">
                <a:solidFill>
                  <a:schemeClr val="accent6">
                    <a:lumMod val="50000"/>
                  </a:schemeClr>
                </a:solidFill>
              </a:rPr>
              <a:t>Below items are </a:t>
            </a:r>
            <a:r>
              <a:rPr lang="en-US" sz="1800" dirty="0">
                <a:solidFill>
                  <a:schemeClr val="accent6">
                    <a:lumMod val="50000"/>
                  </a:schemeClr>
                </a:solidFill>
              </a:rPr>
              <a:t>not </a:t>
            </a:r>
            <a:r>
              <a:rPr lang="en-US" sz="1800">
                <a:solidFill>
                  <a:schemeClr val="accent6">
                    <a:lumMod val="50000"/>
                  </a:schemeClr>
                </a:solidFill>
              </a:rPr>
              <a:t>currently </a:t>
            </a:r>
            <a:r>
              <a:rPr lang="en-US" sz="1800" smtClean="0">
                <a:solidFill>
                  <a:schemeClr val="accent6">
                    <a:lumMod val="50000"/>
                  </a:schemeClr>
                </a:solidFill>
              </a:rPr>
              <a:t>authorized</a:t>
            </a:r>
          </a:p>
          <a:p>
            <a:pPr lvl="1"/>
            <a:endParaRPr lang="en-US" sz="1800" dirty="0" smtClean="0">
              <a:solidFill>
                <a:schemeClr val="accent6">
                  <a:lumMod val="50000"/>
                </a:schemeClr>
              </a:solidFill>
            </a:endParaRPr>
          </a:p>
          <a:p>
            <a:pPr lvl="1"/>
            <a:r>
              <a:rPr lang="en-US" sz="1800" dirty="0" smtClean="0">
                <a:solidFill>
                  <a:schemeClr val="accent6">
                    <a:lumMod val="50000"/>
                  </a:schemeClr>
                </a:solidFill>
              </a:rPr>
              <a:t>N</a:t>
            </a:r>
            <a:r>
              <a:rPr lang="en-US" sz="1800" dirty="0">
                <a:solidFill>
                  <a:schemeClr val="accent6">
                    <a:lumMod val="50000"/>
                  </a:schemeClr>
                </a:solidFill>
              </a:rPr>
              <a:t>-Gene – Non-curated, Non-vetted, controlled access data sharing service that allows pre-publication data or other data to be shared within a tightly controlled community (N-Gene is not currently authorized)</a:t>
            </a:r>
          </a:p>
          <a:p>
            <a:pPr lvl="1"/>
            <a:r>
              <a:rPr lang="en-US" sz="1800" dirty="0">
                <a:solidFill>
                  <a:schemeClr val="accent6">
                    <a:lumMod val="50000"/>
                  </a:schemeClr>
                </a:solidFill>
              </a:rPr>
              <a:t>O-Gene – “Open Post” instance of U-Gene where the community can post data that will be openly shared (O-Gene is not currently authorized)</a:t>
            </a:r>
          </a:p>
          <a:p>
            <a:pPr lvl="1"/>
            <a:r>
              <a:rPr lang="en-US" sz="1800" dirty="0">
                <a:solidFill>
                  <a:schemeClr val="accent6">
                    <a:lumMod val="50000"/>
                  </a:schemeClr>
                </a:solidFill>
              </a:rPr>
              <a:t>T-Gene – an </a:t>
            </a:r>
            <a:r>
              <a:rPr lang="en-US" sz="1800" dirty="0" err="1">
                <a:solidFill>
                  <a:schemeClr val="accent6">
                    <a:lumMod val="50000"/>
                  </a:schemeClr>
                </a:solidFill>
              </a:rPr>
              <a:t>omics</a:t>
            </a:r>
            <a:r>
              <a:rPr lang="en-US" sz="1800" dirty="0">
                <a:solidFill>
                  <a:schemeClr val="accent6">
                    <a:lumMod val="50000"/>
                  </a:schemeClr>
                </a:solidFill>
              </a:rPr>
              <a:t> analysis  “tool repository” site where developers can upload and share their analysis tools (T-Gene is not currently authorized)</a:t>
            </a:r>
          </a:p>
          <a:p>
            <a:pPr lvl="1"/>
            <a:r>
              <a:rPr lang="en-US" sz="1800" dirty="0">
                <a:solidFill>
                  <a:schemeClr val="accent6">
                    <a:lumMod val="50000"/>
                  </a:schemeClr>
                </a:solidFill>
              </a:rPr>
              <a:t>H-Gene – Human </a:t>
            </a:r>
            <a:r>
              <a:rPr lang="en-US" sz="1800" dirty="0" err="1">
                <a:solidFill>
                  <a:schemeClr val="accent6">
                    <a:lumMod val="50000"/>
                  </a:schemeClr>
                </a:solidFill>
              </a:rPr>
              <a:t>Omics</a:t>
            </a:r>
            <a:r>
              <a:rPr lang="en-US" sz="1800" dirty="0">
                <a:solidFill>
                  <a:schemeClr val="accent6">
                    <a:lumMod val="50000"/>
                  </a:schemeClr>
                </a:solidFill>
              </a:rPr>
              <a:t> data (H-Gene is not currently authorized</a:t>
            </a:r>
            <a:r>
              <a:rPr lang="en-US" sz="1800" dirty="0" smtClean="0">
                <a:solidFill>
                  <a:schemeClr val="accent6">
                    <a:lumMod val="50000"/>
                  </a:schemeClr>
                </a:solidFill>
              </a:rPr>
              <a:t>)</a:t>
            </a:r>
          </a:p>
        </p:txBody>
      </p:sp>
      <p:pic>
        <p:nvPicPr>
          <p:cNvPr id="5" name="Picture 4"/>
          <p:cNvPicPr>
            <a:picLocks noChangeAspect="1"/>
          </p:cNvPicPr>
          <p:nvPr/>
        </p:nvPicPr>
        <p:blipFill>
          <a:blip r:embed="rId3"/>
          <a:stretch>
            <a:fillRect/>
          </a:stretch>
        </p:blipFill>
        <p:spPr>
          <a:xfrm>
            <a:off x="12472" y="239678"/>
            <a:ext cx="3523095" cy="644690"/>
          </a:xfrm>
          <a:prstGeom prst="rect">
            <a:avLst/>
          </a:prstGeom>
        </p:spPr>
      </p:pic>
      <p:sp>
        <p:nvSpPr>
          <p:cNvPr id="10" name="Date Placeholder 3"/>
          <p:cNvSpPr>
            <a:spLocks noGrp="1"/>
          </p:cNvSpPr>
          <p:nvPr>
            <p:ph type="dt" sz="half" idx="10"/>
          </p:nvPr>
        </p:nvSpPr>
        <p:spPr>
          <a:xfrm>
            <a:off x="487440" y="6431940"/>
            <a:ext cx="2133600" cy="365125"/>
          </a:xfrm>
          <a:prstGeom prst="rect">
            <a:avLst/>
          </a:prstGeom>
        </p:spPr>
        <p:txBody>
          <a:bodyPr anchor="ctr"/>
          <a:lstStyle>
            <a:lvl1pPr>
              <a:defRPr sz="1400" b="1">
                <a:latin typeface="Arial"/>
                <a:cs typeface="Arial"/>
              </a:defRPr>
            </a:lvl1pPr>
          </a:lstStyle>
          <a:p>
            <a:r>
              <a:rPr lang="en-US" smtClean="0">
                <a:solidFill>
                  <a:prstClr val="black"/>
                </a:solidFill>
              </a:rPr>
              <a:t>14 January 2016</a:t>
            </a:r>
            <a:endParaRPr lang="en-US" dirty="0">
              <a:solidFill>
                <a:prstClr val="black"/>
              </a:solidFill>
            </a:endParaRPr>
          </a:p>
        </p:txBody>
      </p:sp>
      <p:sp>
        <p:nvSpPr>
          <p:cNvPr id="11" name="Footer Placeholder 4"/>
          <p:cNvSpPr>
            <a:spLocks noGrp="1"/>
          </p:cNvSpPr>
          <p:nvPr>
            <p:ph type="ftr" sz="quarter" idx="11"/>
          </p:nvPr>
        </p:nvSpPr>
        <p:spPr>
          <a:xfrm>
            <a:off x="2811451" y="6431940"/>
            <a:ext cx="6064159" cy="365125"/>
          </a:xfrm>
        </p:spPr>
        <p:txBody>
          <a:bodyPr/>
          <a:lstStyle>
            <a:lvl1pPr>
              <a:defRPr sz="1400" b="1">
                <a:latin typeface="Arial"/>
                <a:cs typeface="Arial"/>
              </a:defRPr>
            </a:lvl1pPr>
          </a:lstStyle>
          <a:p>
            <a:pPr algn="l"/>
            <a:r>
              <a:rPr lang="en-US" smtClean="0">
                <a:solidFill>
                  <a:srgbClr val="000000"/>
                </a:solidFill>
              </a:rPr>
              <a:t>Collaborative Life Sciences Data TEM | Michael Skidmore                      </a:t>
            </a:r>
            <a:endParaRPr lang="en-US" dirty="0">
              <a:solidFill>
                <a:srgbClr val="000000"/>
              </a:solidFill>
            </a:endParaRPr>
          </a:p>
        </p:txBody>
      </p:sp>
      <p:sp>
        <p:nvSpPr>
          <p:cNvPr id="8" name="Slide Number Placeholder 1"/>
          <p:cNvSpPr>
            <a:spLocks noGrp="1"/>
          </p:cNvSpPr>
          <p:nvPr>
            <p:ph type="sldNum" sz="quarter" idx="12"/>
          </p:nvPr>
        </p:nvSpPr>
        <p:spPr>
          <a:xfrm>
            <a:off x="7786154" y="6435721"/>
            <a:ext cx="1085865" cy="365125"/>
          </a:xfrm>
        </p:spPr>
        <p:txBody>
          <a:bodyPr/>
          <a:lstStyle/>
          <a:p>
            <a:fld id="{ACB3FC3A-BC2E-574C-8636-F1DF04588B6F}" type="slidenum">
              <a:rPr lang="en-US" smtClean="0">
                <a:solidFill>
                  <a:srgbClr val="000000"/>
                </a:solidFill>
              </a:rPr>
              <a:pPr/>
              <a:t>5</a:t>
            </a:fld>
            <a:endParaRPr lang="en-US" dirty="0">
              <a:solidFill>
                <a:srgbClr val="000000"/>
              </a:solidFill>
            </a:endParaRPr>
          </a:p>
        </p:txBody>
      </p:sp>
    </p:spTree>
    <p:extLst>
      <p:ext uri="{BB962C8B-B14F-4D97-AF65-F5344CB8AC3E}">
        <p14:creationId xmlns:p14="http://schemas.microsoft.com/office/powerpoint/2010/main" val="99217302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180925" y="299592"/>
            <a:ext cx="4854414" cy="584776"/>
          </a:xfrm>
          <a:prstGeom prst="rect">
            <a:avLst/>
          </a:prstGeom>
        </p:spPr>
        <p:txBody>
          <a:bodyPr wrap="none" rtlCol="0">
            <a:spAutoFit/>
          </a:bodyPr>
          <a:lstStyle/>
          <a:p>
            <a:r>
              <a:rPr lang="en-US" sz="3200" b="1" dirty="0" smtClean="0">
                <a:solidFill>
                  <a:srgbClr val="000000"/>
                </a:solidFill>
                <a:latin typeface="Calibri"/>
              </a:rPr>
              <a:t>GeneLab Life Cycle Concept</a:t>
            </a:r>
          </a:p>
        </p:txBody>
      </p:sp>
      <p:pic>
        <p:nvPicPr>
          <p:cNvPr id="5" name="Picture 4"/>
          <p:cNvPicPr>
            <a:picLocks noChangeAspect="1"/>
          </p:cNvPicPr>
          <p:nvPr/>
        </p:nvPicPr>
        <p:blipFill>
          <a:blip r:embed="rId2"/>
          <a:stretch>
            <a:fillRect/>
          </a:stretch>
        </p:blipFill>
        <p:spPr>
          <a:xfrm>
            <a:off x="12472" y="239678"/>
            <a:ext cx="3523095" cy="644690"/>
          </a:xfrm>
          <a:prstGeom prst="rect">
            <a:avLst/>
          </a:prstGeom>
        </p:spPr>
      </p:pic>
      <p:sp>
        <p:nvSpPr>
          <p:cNvPr id="8" name="Date Placeholder 3"/>
          <p:cNvSpPr>
            <a:spLocks noGrp="1"/>
          </p:cNvSpPr>
          <p:nvPr>
            <p:ph type="dt" sz="half" idx="10"/>
          </p:nvPr>
        </p:nvSpPr>
        <p:spPr>
          <a:xfrm>
            <a:off x="487440" y="6431940"/>
            <a:ext cx="2133600" cy="365125"/>
          </a:xfrm>
          <a:prstGeom prst="rect">
            <a:avLst/>
          </a:prstGeom>
        </p:spPr>
        <p:txBody>
          <a:bodyPr anchor="ctr"/>
          <a:lstStyle>
            <a:lvl1pPr>
              <a:defRPr sz="1400" b="1">
                <a:latin typeface="Arial"/>
                <a:cs typeface="Arial"/>
              </a:defRPr>
            </a:lvl1pPr>
          </a:lstStyle>
          <a:p>
            <a:r>
              <a:rPr lang="en-US" smtClean="0">
                <a:solidFill>
                  <a:prstClr val="black"/>
                </a:solidFill>
              </a:rPr>
              <a:t>14 January 2016</a:t>
            </a:r>
            <a:endParaRPr lang="en-US" dirty="0">
              <a:solidFill>
                <a:prstClr val="black"/>
              </a:solidFill>
            </a:endParaRPr>
          </a:p>
        </p:txBody>
      </p:sp>
      <p:sp>
        <p:nvSpPr>
          <p:cNvPr id="11" name="Footer Placeholder 4"/>
          <p:cNvSpPr>
            <a:spLocks noGrp="1"/>
          </p:cNvSpPr>
          <p:nvPr>
            <p:ph type="ftr" sz="quarter" idx="11"/>
          </p:nvPr>
        </p:nvSpPr>
        <p:spPr>
          <a:xfrm>
            <a:off x="2811452" y="6431940"/>
            <a:ext cx="5024720" cy="365125"/>
          </a:xfrm>
        </p:spPr>
        <p:txBody>
          <a:bodyPr/>
          <a:lstStyle>
            <a:lvl1pPr>
              <a:defRPr sz="1400" b="1">
                <a:latin typeface="Arial"/>
                <a:cs typeface="Arial"/>
              </a:defRPr>
            </a:lvl1pPr>
          </a:lstStyle>
          <a:p>
            <a:pPr algn="l"/>
            <a:r>
              <a:rPr lang="en-US" dirty="0">
                <a:solidFill>
                  <a:schemeClr val="tx1"/>
                </a:solidFill>
              </a:rPr>
              <a:t>Collaborative Life Sciences Data </a:t>
            </a:r>
            <a:r>
              <a:rPr lang="en-US" dirty="0" smtClean="0">
                <a:solidFill>
                  <a:schemeClr val="tx1"/>
                </a:solidFill>
              </a:rPr>
              <a:t>TEM </a:t>
            </a:r>
            <a:r>
              <a:rPr lang="en-US" dirty="0" smtClean="0">
                <a:solidFill>
                  <a:srgbClr val="000000"/>
                </a:solidFill>
              </a:rPr>
              <a:t>| Michael Skidmore                      </a:t>
            </a:r>
            <a:endParaRPr lang="en-US" dirty="0">
              <a:solidFill>
                <a:srgbClr val="000000"/>
              </a:solidFill>
            </a:endParaRPr>
          </a:p>
        </p:txBody>
      </p:sp>
      <p:sp>
        <p:nvSpPr>
          <p:cNvPr id="12" name="Slide Number Placeholder 1"/>
          <p:cNvSpPr>
            <a:spLocks noGrp="1"/>
          </p:cNvSpPr>
          <p:nvPr>
            <p:ph type="sldNum" sz="quarter" idx="12"/>
          </p:nvPr>
        </p:nvSpPr>
        <p:spPr>
          <a:xfrm>
            <a:off x="7786154" y="6435721"/>
            <a:ext cx="1085865" cy="365125"/>
          </a:xfrm>
        </p:spPr>
        <p:txBody>
          <a:bodyPr/>
          <a:lstStyle/>
          <a:p>
            <a:fld id="{ACB3FC3A-BC2E-574C-8636-F1DF04588B6F}" type="slidenum">
              <a:rPr lang="en-US" smtClean="0">
                <a:solidFill>
                  <a:srgbClr val="000000"/>
                </a:solidFill>
              </a:rPr>
              <a:pPr/>
              <a:t>6</a:t>
            </a:fld>
            <a:endParaRPr lang="en-US" dirty="0">
              <a:solidFill>
                <a:srgbClr val="000000"/>
              </a:solidFill>
            </a:endParaRPr>
          </a:p>
        </p:txBody>
      </p:sp>
      <p:grpSp>
        <p:nvGrpSpPr>
          <p:cNvPr id="9" name="Group 8"/>
          <p:cNvGrpSpPr/>
          <p:nvPr/>
        </p:nvGrpSpPr>
        <p:grpSpPr>
          <a:xfrm>
            <a:off x="5266315" y="1640926"/>
            <a:ext cx="428322" cy="4781023"/>
            <a:chOff x="5130750" y="1268728"/>
            <a:chExt cx="428322" cy="5545591"/>
          </a:xfrm>
        </p:grpSpPr>
        <p:grpSp>
          <p:nvGrpSpPr>
            <p:cNvPr id="10" name="Group 9"/>
            <p:cNvGrpSpPr/>
            <p:nvPr/>
          </p:nvGrpSpPr>
          <p:grpSpPr>
            <a:xfrm>
              <a:off x="5130750" y="1327919"/>
              <a:ext cx="428322" cy="5486400"/>
              <a:chOff x="4952943" y="1748667"/>
              <a:chExt cx="428322" cy="5095046"/>
            </a:xfrm>
          </p:grpSpPr>
          <p:grpSp>
            <p:nvGrpSpPr>
              <p:cNvPr id="14" name="Group 13"/>
              <p:cNvGrpSpPr/>
              <p:nvPr/>
            </p:nvGrpSpPr>
            <p:grpSpPr>
              <a:xfrm>
                <a:off x="5067795" y="1748667"/>
                <a:ext cx="198619" cy="4835376"/>
                <a:chOff x="5063562" y="1767565"/>
                <a:chExt cx="198619" cy="4835376"/>
              </a:xfrm>
            </p:grpSpPr>
            <p:sp>
              <p:nvSpPr>
                <p:cNvPr id="16" name="Isosceles Triangle 15"/>
                <p:cNvSpPr/>
                <p:nvPr/>
              </p:nvSpPr>
              <p:spPr>
                <a:xfrm>
                  <a:off x="5063562" y="6332082"/>
                  <a:ext cx="198619" cy="270859"/>
                </a:xfrm>
                <a:prstGeom prst="triangle">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7" name="Group 16"/>
                <p:cNvGrpSpPr/>
                <p:nvPr/>
              </p:nvGrpSpPr>
              <p:grpSpPr>
                <a:xfrm>
                  <a:off x="5162871" y="1767565"/>
                  <a:ext cx="0" cy="4571382"/>
                  <a:chOff x="4981489" y="1827755"/>
                  <a:chExt cx="0" cy="4571382"/>
                </a:xfrm>
              </p:grpSpPr>
              <p:cxnSp>
                <p:nvCxnSpPr>
                  <p:cNvPr id="18" name="Straight Connector 17"/>
                  <p:cNvCxnSpPr/>
                  <p:nvPr/>
                </p:nvCxnSpPr>
                <p:spPr>
                  <a:xfrm flipV="1">
                    <a:off x="4981489" y="1827755"/>
                    <a:ext cx="0" cy="4571382"/>
                  </a:xfrm>
                  <a:prstGeom prst="line">
                    <a:avLst/>
                  </a:prstGeom>
                  <a:ln w="38100" cmpd="sng">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V="1">
                    <a:off x="4981489" y="1827755"/>
                    <a:ext cx="0" cy="4571382"/>
                  </a:xfrm>
                  <a:prstGeom prst="line">
                    <a:avLst/>
                  </a:prstGeom>
                  <a:ln w="12700" cmpd="sng">
                    <a:solidFill>
                      <a:schemeClr val="tx1"/>
                    </a:solidFill>
                  </a:ln>
                </p:spPr>
                <p:style>
                  <a:lnRef idx="2">
                    <a:schemeClr val="accent1"/>
                  </a:lnRef>
                  <a:fillRef idx="0">
                    <a:schemeClr val="accent1"/>
                  </a:fillRef>
                  <a:effectRef idx="1">
                    <a:schemeClr val="accent1"/>
                  </a:effectRef>
                  <a:fontRef idx="minor">
                    <a:schemeClr val="tx1"/>
                  </a:fontRef>
                </p:style>
              </p:cxnSp>
            </p:grpSp>
          </p:grpSp>
          <p:sp>
            <p:nvSpPr>
              <p:cNvPr id="15" name="TextBox 14"/>
              <p:cNvSpPr txBox="1"/>
              <p:nvPr/>
            </p:nvSpPr>
            <p:spPr>
              <a:xfrm>
                <a:off x="4952943" y="6520548"/>
                <a:ext cx="428322" cy="323165"/>
              </a:xfrm>
              <a:prstGeom prst="rect">
                <a:avLst/>
              </a:prstGeom>
              <a:noFill/>
            </p:spPr>
            <p:txBody>
              <a:bodyPr wrap="none" rtlCol="0">
                <a:spAutoFit/>
              </a:bodyPr>
              <a:lstStyle/>
              <a:p>
                <a:pPr algn="ctr"/>
                <a:r>
                  <a:rPr lang="en-US" sz="1000" dirty="0" smtClean="0"/>
                  <a:t>CDR</a:t>
                </a:r>
              </a:p>
              <a:p>
                <a:pPr algn="ctr"/>
                <a:r>
                  <a:rPr lang="en-US" sz="500" dirty="0" smtClean="0"/>
                  <a:t>Date TBD</a:t>
                </a:r>
                <a:endParaRPr lang="en-US" sz="500" dirty="0"/>
              </a:p>
            </p:txBody>
          </p:sp>
        </p:grpSp>
        <p:sp>
          <p:nvSpPr>
            <p:cNvPr id="13" name="Down Arrow 12"/>
            <p:cNvSpPr/>
            <p:nvPr/>
          </p:nvSpPr>
          <p:spPr>
            <a:xfrm>
              <a:off x="5298182" y="1268728"/>
              <a:ext cx="91440" cy="118382"/>
            </a:xfrm>
            <a:prstGeom prst="downArrow">
              <a:avLst>
                <a:gd name="adj1" fmla="val 22222"/>
                <a:gd name="adj2" fmla="val 50000"/>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20" name="Group 19"/>
          <p:cNvGrpSpPr/>
          <p:nvPr/>
        </p:nvGrpSpPr>
        <p:grpSpPr>
          <a:xfrm>
            <a:off x="5617923" y="1640926"/>
            <a:ext cx="659155" cy="4781023"/>
            <a:chOff x="5617923" y="1268728"/>
            <a:chExt cx="659155" cy="5545591"/>
          </a:xfrm>
        </p:grpSpPr>
        <p:grpSp>
          <p:nvGrpSpPr>
            <p:cNvPr id="21" name="Group 20"/>
            <p:cNvGrpSpPr/>
            <p:nvPr/>
          </p:nvGrpSpPr>
          <p:grpSpPr>
            <a:xfrm>
              <a:off x="5617923" y="1327919"/>
              <a:ext cx="659155" cy="5486400"/>
              <a:chOff x="5389314" y="1748667"/>
              <a:chExt cx="659155" cy="5095046"/>
            </a:xfrm>
          </p:grpSpPr>
          <p:grpSp>
            <p:nvGrpSpPr>
              <p:cNvPr id="23" name="Group 22"/>
              <p:cNvGrpSpPr/>
              <p:nvPr/>
            </p:nvGrpSpPr>
            <p:grpSpPr>
              <a:xfrm>
                <a:off x="5619582" y="1748667"/>
                <a:ext cx="198619" cy="4835376"/>
                <a:chOff x="5063562" y="1767565"/>
                <a:chExt cx="198619" cy="4835376"/>
              </a:xfrm>
            </p:grpSpPr>
            <p:sp>
              <p:nvSpPr>
                <p:cNvPr id="25" name="Isosceles Triangle 24"/>
                <p:cNvSpPr/>
                <p:nvPr/>
              </p:nvSpPr>
              <p:spPr>
                <a:xfrm>
                  <a:off x="5063562" y="6332082"/>
                  <a:ext cx="198619" cy="270859"/>
                </a:xfrm>
                <a:prstGeom prst="triangle">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26" name="Group 25"/>
                <p:cNvGrpSpPr/>
                <p:nvPr/>
              </p:nvGrpSpPr>
              <p:grpSpPr>
                <a:xfrm>
                  <a:off x="5162871" y="1767565"/>
                  <a:ext cx="0" cy="4571382"/>
                  <a:chOff x="4981489" y="1827755"/>
                  <a:chExt cx="0" cy="4571382"/>
                </a:xfrm>
              </p:grpSpPr>
              <p:cxnSp>
                <p:nvCxnSpPr>
                  <p:cNvPr id="27" name="Straight Connector 26"/>
                  <p:cNvCxnSpPr/>
                  <p:nvPr/>
                </p:nvCxnSpPr>
                <p:spPr>
                  <a:xfrm flipV="1">
                    <a:off x="4981489" y="1827755"/>
                    <a:ext cx="0" cy="4571382"/>
                  </a:xfrm>
                  <a:prstGeom prst="line">
                    <a:avLst/>
                  </a:prstGeom>
                  <a:ln w="38100" cmpd="sng">
                    <a:solidFill>
                      <a:schemeClr val="bg1"/>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flipV="1">
                    <a:off x="4981489" y="1827755"/>
                    <a:ext cx="0" cy="4571382"/>
                  </a:xfrm>
                  <a:prstGeom prst="line">
                    <a:avLst/>
                  </a:prstGeom>
                  <a:ln w="12700" cmpd="sng">
                    <a:solidFill>
                      <a:schemeClr val="tx1"/>
                    </a:solidFill>
                  </a:ln>
                </p:spPr>
                <p:style>
                  <a:lnRef idx="2">
                    <a:schemeClr val="accent1"/>
                  </a:lnRef>
                  <a:fillRef idx="0">
                    <a:schemeClr val="accent1"/>
                  </a:fillRef>
                  <a:effectRef idx="1">
                    <a:schemeClr val="accent1"/>
                  </a:effectRef>
                  <a:fontRef idx="minor">
                    <a:schemeClr val="tx1"/>
                  </a:fontRef>
                </p:style>
              </p:cxnSp>
            </p:grpSp>
          </p:grpSp>
          <p:sp>
            <p:nvSpPr>
              <p:cNvPr id="24" name="TextBox 23"/>
              <p:cNvSpPr txBox="1"/>
              <p:nvPr/>
            </p:nvSpPr>
            <p:spPr>
              <a:xfrm>
                <a:off x="5389314" y="6520548"/>
                <a:ext cx="659155" cy="323165"/>
              </a:xfrm>
              <a:prstGeom prst="rect">
                <a:avLst/>
              </a:prstGeom>
              <a:noFill/>
            </p:spPr>
            <p:txBody>
              <a:bodyPr wrap="none" rtlCol="0">
                <a:spAutoFit/>
              </a:bodyPr>
              <a:lstStyle/>
              <a:p>
                <a:pPr algn="ctr"/>
                <a:r>
                  <a:rPr lang="en-US" sz="1000" dirty="0" smtClean="0"/>
                  <a:t>CCB/PDR</a:t>
                </a:r>
              </a:p>
              <a:p>
                <a:pPr algn="ctr"/>
                <a:r>
                  <a:rPr lang="en-US" sz="500" dirty="0" smtClean="0"/>
                  <a:t>Date TBD</a:t>
                </a:r>
                <a:endParaRPr lang="en-US" sz="500" dirty="0"/>
              </a:p>
            </p:txBody>
          </p:sp>
        </p:grpSp>
        <p:sp>
          <p:nvSpPr>
            <p:cNvPr id="22" name="Down Arrow 21"/>
            <p:cNvSpPr/>
            <p:nvPr/>
          </p:nvSpPr>
          <p:spPr>
            <a:xfrm>
              <a:off x="5898798" y="1268728"/>
              <a:ext cx="91440" cy="118382"/>
            </a:xfrm>
            <a:prstGeom prst="downArrow">
              <a:avLst>
                <a:gd name="adj1" fmla="val 22222"/>
                <a:gd name="adj2" fmla="val 50000"/>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29" name="Group 28"/>
          <p:cNvGrpSpPr/>
          <p:nvPr/>
        </p:nvGrpSpPr>
        <p:grpSpPr>
          <a:xfrm>
            <a:off x="6277510" y="1640926"/>
            <a:ext cx="428322" cy="4781023"/>
            <a:chOff x="6320320" y="1268728"/>
            <a:chExt cx="428322" cy="5545591"/>
          </a:xfrm>
        </p:grpSpPr>
        <p:grpSp>
          <p:nvGrpSpPr>
            <p:cNvPr id="30" name="Group 29"/>
            <p:cNvGrpSpPr/>
            <p:nvPr/>
          </p:nvGrpSpPr>
          <p:grpSpPr>
            <a:xfrm>
              <a:off x="6320320" y="1327919"/>
              <a:ext cx="428322" cy="5486400"/>
              <a:chOff x="6083244" y="1748667"/>
              <a:chExt cx="428322" cy="5095046"/>
            </a:xfrm>
          </p:grpSpPr>
          <p:grpSp>
            <p:nvGrpSpPr>
              <p:cNvPr id="32" name="Group 31"/>
              <p:cNvGrpSpPr/>
              <p:nvPr/>
            </p:nvGrpSpPr>
            <p:grpSpPr>
              <a:xfrm>
                <a:off x="6198096" y="1748667"/>
                <a:ext cx="198619" cy="4835376"/>
                <a:chOff x="5063562" y="1767565"/>
                <a:chExt cx="198619" cy="4835376"/>
              </a:xfrm>
            </p:grpSpPr>
            <p:sp>
              <p:nvSpPr>
                <p:cNvPr id="34" name="Isosceles Triangle 33"/>
                <p:cNvSpPr/>
                <p:nvPr/>
              </p:nvSpPr>
              <p:spPr>
                <a:xfrm>
                  <a:off x="5063562" y="6332082"/>
                  <a:ext cx="198619" cy="270859"/>
                </a:xfrm>
                <a:prstGeom prst="triangle">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35" name="Group 34"/>
                <p:cNvGrpSpPr/>
                <p:nvPr/>
              </p:nvGrpSpPr>
              <p:grpSpPr>
                <a:xfrm>
                  <a:off x="5162871" y="1767565"/>
                  <a:ext cx="0" cy="4571382"/>
                  <a:chOff x="4981489" y="1827755"/>
                  <a:chExt cx="0" cy="4571382"/>
                </a:xfrm>
              </p:grpSpPr>
              <p:cxnSp>
                <p:nvCxnSpPr>
                  <p:cNvPr id="36" name="Straight Connector 35"/>
                  <p:cNvCxnSpPr/>
                  <p:nvPr/>
                </p:nvCxnSpPr>
                <p:spPr>
                  <a:xfrm flipV="1">
                    <a:off x="4981489" y="1827755"/>
                    <a:ext cx="0" cy="4571382"/>
                  </a:xfrm>
                  <a:prstGeom prst="line">
                    <a:avLst/>
                  </a:prstGeom>
                  <a:ln w="38100" cmpd="sng">
                    <a:solidFill>
                      <a:schemeClr val="bg1"/>
                    </a:solidFill>
                  </a:ln>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p:nvCxnSpPr>
                <p:spPr>
                  <a:xfrm flipV="1">
                    <a:off x="4981489" y="1827755"/>
                    <a:ext cx="0" cy="4571382"/>
                  </a:xfrm>
                  <a:prstGeom prst="line">
                    <a:avLst/>
                  </a:prstGeom>
                  <a:ln w="12700" cmpd="sng">
                    <a:solidFill>
                      <a:schemeClr val="tx1"/>
                    </a:solidFill>
                  </a:ln>
                </p:spPr>
                <p:style>
                  <a:lnRef idx="2">
                    <a:schemeClr val="accent1"/>
                  </a:lnRef>
                  <a:fillRef idx="0">
                    <a:schemeClr val="accent1"/>
                  </a:fillRef>
                  <a:effectRef idx="1">
                    <a:schemeClr val="accent1"/>
                  </a:effectRef>
                  <a:fontRef idx="minor">
                    <a:schemeClr val="tx1"/>
                  </a:fontRef>
                </p:style>
              </p:cxnSp>
            </p:grpSp>
          </p:grpSp>
          <p:sp>
            <p:nvSpPr>
              <p:cNvPr id="33" name="TextBox 32"/>
              <p:cNvSpPr txBox="1"/>
              <p:nvPr/>
            </p:nvSpPr>
            <p:spPr>
              <a:xfrm>
                <a:off x="6083244" y="6520548"/>
                <a:ext cx="428322" cy="323165"/>
              </a:xfrm>
              <a:prstGeom prst="rect">
                <a:avLst/>
              </a:prstGeom>
              <a:noFill/>
            </p:spPr>
            <p:txBody>
              <a:bodyPr wrap="none" rtlCol="0">
                <a:spAutoFit/>
              </a:bodyPr>
              <a:lstStyle/>
              <a:p>
                <a:pPr algn="ctr"/>
                <a:r>
                  <a:rPr lang="en-US" sz="1000" dirty="0" smtClean="0"/>
                  <a:t>CDR</a:t>
                </a:r>
              </a:p>
              <a:p>
                <a:pPr algn="ctr"/>
                <a:r>
                  <a:rPr lang="en-US" sz="500" dirty="0" smtClean="0"/>
                  <a:t>Date TBD</a:t>
                </a:r>
                <a:endParaRPr lang="en-US" sz="500" dirty="0"/>
              </a:p>
            </p:txBody>
          </p:sp>
        </p:grpSp>
        <p:sp>
          <p:nvSpPr>
            <p:cNvPr id="31" name="Down Arrow 30"/>
            <p:cNvSpPr/>
            <p:nvPr/>
          </p:nvSpPr>
          <p:spPr>
            <a:xfrm>
              <a:off x="6488761" y="1268728"/>
              <a:ext cx="91440" cy="118382"/>
            </a:xfrm>
            <a:prstGeom prst="downArrow">
              <a:avLst>
                <a:gd name="adj1" fmla="val 22222"/>
                <a:gd name="adj2" fmla="val 50000"/>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38" name="Group 37"/>
          <p:cNvGrpSpPr/>
          <p:nvPr/>
        </p:nvGrpSpPr>
        <p:grpSpPr>
          <a:xfrm>
            <a:off x="6710268" y="1640926"/>
            <a:ext cx="659155" cy="4781023"/>
            <a:chOff x="6824428" y="1268728"/>
            <a:chExt cx="659155" cy="5545591"/>
          </a:xfrm>
        </p:grpSpPr>
        <p:grpSp>
          <p:nvGrpSpPr>
            <p:cNvPr id="39" name="Group 38"/>
            <p:cNvGrpSpPr/>
            <p:nvPr/>
          </p:nvGrpSpPr>
          <p:grpSpPr>
            <a:xfrm>
              <a:off x="6824428" y="1327919"/>
              <a:ext cx="659155" cy="5486400"/>
              <a:chOff x="6468814" y="1748667"/>
              <a:chExt cx="659155" cy="5095046"/>
            </a:xfrm>
          </p:grpSpPr>
          <p:grpSp>
            <p:nvGrpSpPr>
              <p:cNvPr id="41" name="Group 40"/>
              <p:cNvGrpSpPr/>
              <p:nvPr/>
            </p:nvGrpSpPr>
            <p:grpSpPr>
              <a:xfrm>
                <a:off x="6699082" y="1748667"/>
                <a:ext cx="198619" cy="4835376"/>
                <a:chOff x="5063562" y="1767565"/>
                <a:chExt cx="198619" cy="4835376"/>
              </a:xfrm>
            </p:grpSpPr>
            <p:sp>
              <p:nvSpPr>
                <p:cNvPr id="43" name="Isosceles Triangle 42"/>
                <p:cNvSpPr/>
                <p:nvPr/>
              </p:nvSpPr>
              <p:spPr>
                <a:xfrm>
                  <a:off x="5063562" y="6332082"/>
                  <a:ext cx="198619" cy="270859"/>
                </a:xfrm>
                <a:prstGeom prst="triangle">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44" name="Group 43"/>
                <p:cNvGrpSpPr/>
                <p:nvPr/>
              </p:nvGrpSpPr>
              <p:grpSpPr>
                <a:xfrm>
                  <a:off x="5162871" y="1767565"/>
                  <a:ext cx="0" cy="4571382"/>
                  <a:chOff x="4981489" y="1827755"/>
                  <a:chExt cx="0" cy="4571382"/>
                </a:xfrm>
              </p:grpSpPr>
              <p:cxnSp>
                <p:nvCxnSpPr>
                  <p:cNvPr id="45" name="Straight Connector 44"/>
                  <p:cNvCxnSpPr/>
                  <p:nvPr/>
                </p:nvCxnSpPr>
                <p:spPr>
                  <a:xfrm flipV="1">
                    <a:off x="4981489" y="1827755"/>
                    <a:ext cx="0" cy="4571382"/>
                  </a:xfrm>
                  <a:prstGeom prst="line">
                    <a:avLst/>
                  </a:prstGeom>
                  <a:ln w="38100" cmpd="sng">
                    <a:solidFill>
                      <a:schemeClr val="bg1"/>
                    </a:solidFill>
                  </a:ln>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p:nvCxnSpPr>
                <p:spPr>
                  <a:xfrm flipV="1">
                    <a:off x="4981489" y="1827755"/>
                    <a:ext cx="0" cy="4571382"/>
                  </a:xfrm>
                  <a:prstGeom prst="line">
                    <a:avLst/>
                  </a:prstGeom>
                  <a:ln w="12700" cmpd="sng">
                    <a:solidFill>
                      <a:schemeClr val="tx1"/>
                    </a:solidFill>
                  </a:ln>
                </p:spPr>
                <p:style>
                  <a:lnRef idx="2">
                    <a:schemeClr val="accent1"/>
                  </a:lnRef>
                  <a:fillRef idx="0">
                    <a:schemeClr val="accent1"/>
                  </a:fillRef>
                  <a:effectRef idx="1">
                    <a:schemeClr val="accent1"/>
                  </a:effectRef>
                  <a:fontRef idx="minor">
                    <a:schemeClr val="tx1"/>
                  </a:fontRef>
                </p:style>
              </p:cxnSp>
            </p:grpSp>
          </p:grpSp>
          <p:sp>
            <p:nvSpPr>
              <p:cNvPr id="42" name="TextBox 41"/>
              <p:cNvSpPr txBox="1"/>
              <p:nvPr/>
            </p:nvSpPr>
            <p:spPr>
              <a:xfrm>
                <a:off x="6468814" y="6520548"/>
                <a:ext cx="659155" cy="323165"/>
              </a:xfrm>
              <a:prstGeom prst="rect">
                <a:avLst/>
              </a:prstGeom>
              <a:noFill/>
            </p:spPr>
            <p:txBody>
              <a:bodyPr wrap="none" rtlCol="0">
                <a:spAutoFit/>
              </a:bodyPr>
              <a:lstStyle/>
              <a:p>
                <a:pPr algn="ctr"/>
                <a:r>
                  <a:rPr lang="en-US" sz="1000" dirty="0" smtClean="0"/>
                  <a:t>CCB/PDR</a:t>
                </a:r>
              </a:p>
              <a:p>
                <a:pPr algn="ctr"/>
                <a:r>
                  <a:rPr lang="en-US" sz="500" dirty="0" smtClean="0"/>
                  <a:t>Date TBD</a:t>
                </a:r>
                <a:endParaRPr lang="en-US" sz="500" dirty="0"/>
              </a:p>
            </p:txBody>
          </p:sp>
        </p:grpSp>
        <p:sp>
          <p:nvSpPr>
            <p:cNvPr id="40" name="Down Arrow 39"/>
            <p:cNvSpPr/>
            <p:nvPr/>
          </p:nvSpPr>
          <p:spPr>
            <a:xfrm>
              <a:off x="7108285" y="1268728"/>
              <a:ext cx="91440" cy="118382"/>
            </a:xfrm>
            <a:prstGeom prst="downArrow">
              <a:avLst>
                <a:gd name="adj1" fmla="val 22222"/>
                <a:gd name="adj2" fmla="val 50000"/>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47" name="Group 46"/>
          <p:cNvGrpSpPr/>
          <p:nvPr/>
        </p:nvGrpSpPr>
        <p:grpSpPr>
          <a:xfrm>
            <a:off x="7226772" y="1640926"/>
            <a:ext cx="428322" cy="4781023"/>
            <a:chOff x="7433687" y="1268728"/>
            <a:chExt cx="428322" cy="5545591"/>
          </a:xfrm>
        </p:grpSpPr>
        <p:grpSp>
          <p:nvGrpSpPr>
            <p:cNvPr id="48" name="Group 47"/>
            <p:cNvGrpSpPr/>
            <p:nvPr/>
          </p:nvGrpSpPr>
          <p:grpSpPr>
            <a:xfrm>
              <a:off x="7433687" y="1327919"/>
              <a:ext cx="428322" cy="5486400"/>
              <a:chOff x="7213545" y="1748667"/>
              <a:chExt cx="428322" cy="5095046"/>
            </a:xfrm>
          </p:grpSpPr>
          <p:grpSp>
            <p:nvGrpSpPr>
              <p:cNvPr id="50" name="Group 49"/>
              <p:cNvGrpSpPr/>
              <p:nvPr/>
            </p:nvGrpSpPr>
            <p:grpSpPr>
              <a:xfrm>
                <a:off x="7328397" y="1748667"/>
                <a:ext cx="198619" cy="4835376"/>
                <a:chOff x="5063562" y="1767565"/>
                <a:chExt cx="198619" cy="4835376"/>
              </a:xfrm>
            </p:grpSpPr>
            <p:sp>
              <p:nvSpPr>
                <p:cNvPr id="52" name="Isosceles Triangle 51"/>
                <p:cNvSpPr/>
                <p:nvPr/>
              </p:nvSpPr>
              <p:spPr>
                <a:xfrm>
                  <a:off x="5063562" y="6332082"/>
                  <a:ext cx="198619" cy="270859"/>
                </a:xfrm>
                <a:prstGeom prst="triangle">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53" name="Group 52"/>
                <p:cNvGrpSpPr/>
                <p:nvPr/>
              </p:nvGrpSpPr>
              <p:grpSpPr>
                <a:xfrm>
                  <a:off x="5162871" y="1767565"/>
                  <a:ext cx="0" cy="4571382"/>
                  <a:chOff x="4981489" y="1827755"/>
                  <a:chExt cx="0" cy="4571382"/>
                </a:xfrm>
              </p:grpSpPr>
              <p:cxnSp>
                <p:nvCxnSpPr>
                  <p:cNvPr id="54" name="Straight Connector 53"/>
                  <p:cNvCxnSpPr/>
                  <p:nvPr/>
                </p:nvCxnSpPr>
                <p:spPr>
                  <a:xfrm flipV="1">
                    <a:off x="4981489" y="1827755"/>
                    <a:ext cx="0" cy="4571382"/>
                  </a:xfrm>
                  <a:prstGeom prst="line">
                    <a:avLst/>
                  </a:prstGeom>
                  <a:ln w="38100" cmpd="sng">
                    <a:solidFill>
                      <a:schemeClr val="bg1"/>
                    </a:solidFill>
                  </a:ln>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p:nvCxnSpPr>
                <p:spPr>
                  <a:xfrm flipV="1">
                    <a:off x="4981489" y="1827755"/>
                    <a:ext cx="0" cy="4571382"/>
                  </a:xfrm>
                  <a:prstGeom prst="line">
                    <a:avLst/>
                  </a:prstGeom>
                  <a:ln w="12700" cmpd="sng">
                    <a:solidFill>
                      <a:schemeClr val="tx1"/>
                    </a:solidFill>
                  </a:ln>
                </p:spPr>
                <p:style>
                  <a:lnRef idx="2">
                    <a:schemeClr val="accent1"/>
                  </a:lnRef>
                  <a:fillRef idx="0">
                    <a:schemeClr val="accent1"/>
                  </a:fillRef>
                  <a:effectRef idx="1">
                    <a:schemeClr val="accent1"/>
                  </a:effectRef>
                  <a:fontRef idx="minor">
                    <a:schemeClr val="tx1"/>
                  </a:fontRef>
                </p:style>
              </p:cxnSp>
            </p:grpSp>
          </p:grpSp>
          <p:sp>
            <p:nvSpPr>
              <p:cNvPr id="51" name="TextBox 50"/>
              <p:cNvSpPr txBox="1"/>
              <p:nvPr/>
            </p:nvSpPr>
            <p:spPr>
              <a:xfrm>
                <a:off x="7213545" y="6520548"/>
                <a:ext cx="428322" cy="323165"/>
              </a:xfrm>
              <a:prstGeom prst="rect">
                <a:avLst/>
              </a:prstGeom>
              <a:noFill/>
            </p:spPr>
            <p:txBody>
              <a:bodyPr wrap="none" rtlCol="0">
                <a:spAutoFit/>
              </a:bodyPr>
              <a:lstStyle/>
              <a:p>
                <a:pPr algn="ctr"/>
                <a:r>
                  <a:rPr lang="en-US" sz="1000" dirty="0" smtClean="0"/>
                  <a:t>CDR</a:t>
                </a:r>
              </a:p>
              <a:p>
                <a:pPr algn="ctr"/>
                <a:r>
                  <a:rPr lang="en-US" sz="500" dirty="0" smtClean="0"/>
                  <a:t>Date TBD</a:t>
                </a:r>
                <a:endParaRPr lang="en-US" sz="500" dirty="0"/>
              </a:p>
            </p:txBody>
          </p:sp>
        </p:grpSp>
        <p:sp>
          <p:nvSpPr>
            <p:cNvPr id="49" name="Down Arrow 48"/>
            <p:cNvSpPr/>
            <p:nvPr/>
          </p:nvSpPr>
          <p:spPr>
            <a:xfrm>
              <a:off x="7602128" y="1268728"/>
              <a:ext cx="91440" cy="118382"/>
            </a:xfrm>
            <a:prstGeom prst="downArrow">
              <a:avLst>
                <a:gd name="adj1" fmla="val 22222"/>
                <a:gd name="adj2" fmla="val 50000"/>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56" name="Group 55"/>
          <p:cNvGrpSpPr/>
          <p:nvPr/>
        </p:nvGrpSpPr>
        <p:grpSpPr>
          <a:xfrm>
            <a:off x="1942861" y="913211"/>
            <a:ext cx="671285" cy="5530082"/>
            <a:chOff x="1257901" y="421141"/>
            <a:chExt cx="671285" cy="6414522"/>
          </a:xfrm>
        </p:grpSpPr>
        <p:grpSp>
          <p:nvGrpSpPr>
            <p:cNvPr id="57" name="Group 56"/>
            <p:cNvGrpSpPr/>
            <p:nvPr/>
          </p:nvGrpSpPr>
          <p:grpSpPr>
            <a:xfrm>
              <a:off x="1257901" y="489857"/>
              <a:ext cx="671285" cy="6345806"/>
              <a:chOff x="4843590" y="1748667"/>
              <a:chExt cx="647032" cy="5114868"/>
            </a:xfrm>
            <a:solidFill>
              <a:srgbClr val="008000"/>
            </a:solidFill>
          </p:grpSpPr>
          <p:grpSp>
            <p:nvGrpSpPr>
              <p:cNvPr id="59" name="Group 58"/>
              <p:cNvGrpSpPr/>
              <p:nvPr/>
            </p:nvGrpSpPr>
            <p:grpSpPr>
              <a:xfrm>
                <a:off x="5067795" y="1748667"/>
                <a:ext cx="198619" cy="4835376"/>
                <a:chOff x="5063562" y="1767565"/>
                <a:chExt cx="198619" cy="4835376"/>
              </a:xfrm>
              <a:grpFill/>
            </p:grpSpPr>
            <p:sp>
              <p:nvSpPr>
                <p:cNvPr id="61" name="Isosceles Triangle 60"/>
                <p:cNvSpPr/>
                <p:nvPr/>
              </p:nvSpPr>
              <p:spPr>
                <a:xfrm>
                  <a:off x="5063562" y="6332082"/>
                  <a:ext cx="198619" cy="270859"/>
                </a:xfrm>
                <a:prstGeom prst="triangle">
                  <a:avLst/>
                </a:prstGeom>
                <a:grp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solidFill>
                  </a:endParaRPr>
                </a:p>
              </p:txBody>
            </p:sp>
            <p:grpSp>
              <p:nvGrpSpPr>
                <p:cNvPr id="62" name="Group 61"/>
                <p:cNvGrpSpPr/>
                <p:nvPr/>
              </p:nvGrpSpPr>
              <p:grpSpPr>
                <a:xfrm>
                  <a:off x="5162871" y="1767565"/>
                  <a:ext cx="0" cy="4571382"/>
                  <a:chOff x="4981489" y="1827755"/>
                  <a:chExt cx="0" cy="4571382"/>
                </a:xfrm>
                <a:grpFill/>
              </p:grpSpPr>
              <p:cxnSp>
                <p:nvCxnSpPr>
                  <p:cNvPr id="63" name="Straight Connector 62"/>
                  <p:cNvCxnSpPr/>
                  <p:nvPr/>
                </p:nvCxnSpPr>
                <p:spPr>
                  <a:xfrm flipV="1">
                    <a:off x="4981489" y="1827755"/>
                    <a:ext cx="0" cy="4571382"/>
                  </a:xfrm>
                  <a:prstGeom prst="line">
                    <a:avLst/>
                  </a:prstGeom>
                  <a:grpFill/>
                  <a:ln w="38100" cmpd="sng">
                    <a:solidFill>
                      <a:srgbClr val="008000"/>
                    </a:solidFill>
                  </a:ln>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nvCxnSpPr>
                <p:spPr>
                  <a:xfrm flipV="1">
                    <a:off x="4981489" y="1827755"/>
                    <a:ext cx="0" cy="4571382"/>
                  </a:xfrm>
                  <a:prstGeom prst="line">
                    <a:avLst/>
                  </a:prstGeom>
                  <a:grpFill/>
                  <a:ln w="12700" cmpd="sng">
                    <a:solidFill>
                      <a:srgbClr val="008000"/>
                    </a:solidFill>
                  </a:ln>
                </p:spPr>
                <p:style>
                  <a:lnRef idx="2">
                    <a:schemeClr val="accent1"/>
                  </a:lnRef>
                  <a:fillRef idx="0">
                    <a:schemeClr val="accent1"/>
                  </a:fillRef>
                  <a:effectRef idx="1">
                    <a:schemeClr val="accent1"/>
                  </a:effectRef>
                  <a:fontRef idx="minor">
                    <a:schemeClr val="tx1"/>
                  </a:fontRef>
                </p:style>
              </p:cxnSp>
            </p:grpSp>
          </p:grpSp>
          <p:sp>
            <p:nvSpPr>
              <p:cNvPr id="60" name="TextBox 59"/>
              <p:cNvSpPr txBox="1"/>
              <p:nvPr/>
            </p:nvSpPr>
            <p:spPr>
              <a:xfrm>
                <a:off x="4843590" y="6520548"/>
                <a:ext cx="647032" cy="342987"/>
              </a:xfrm>
              <a:prstGeom prst="rect">
                <a:avLst/>
              </a:prstGeom>
              <a:grpFill/>
              <a:ln>
                <a:solidFill>
                  <a:srgbClr val="008000"/>
                </a:solidFill>
              </a:ln>
            </p:spPr>
            <p:txBody>
              <a:bodyPr wrap="none" rtlCol="0">
                <a:spAutoFit/>
              </a:bodyPr>
              <a:lstStyle/>
              <a:p>
                <a:pPr algn="ctr"/>
                <a:r>
                  <a:rPr lang="en-US" sz="1000" dirty="0" smtClean="0">
                    <a:solidFill>
                      <a:schemeClr val="bg1"/>
                    </a:solidFill>
                  </a:rPr>
                  <a:t>SRR</a:t>
                </a:r>
              </a:p>
              <a:p>
                <a:pPr algn="ctr"/>
                <a:r>
                  <a:rPr lang="en-US" sz="800" dirty="0" smtClean="0">
                    <a:solidFill>
                      <a:schemeClr val="bg1"/>
                    </a:solidFill>
                  </a:rPr>
                  <a:t>2015 01 27</a:t>
                </a:r>
                <a:endParaRPr lang="en-US" sz="800" dirty="0">
                  <a:solidFill>
                    <a:schemeClr val="bg1"/>
                  </a:solidFill>
                </a:endParaRPr>
              </a:p>
            </p:txBody>
          </p:sp>
        </p:grpSp>
        <p:sp>
          <p:nvSpPr>
            <p:cNvPr id="58" name="Down Arrow 57"/>
            <p:cNvSpPr/>
            <p:nvPr/>
          </p:nvSpPr>
          <p:spPr>
            <a:xfrm>
              <a:off x="1547821" y="421141"/>
              <a:ext cx="91440" cy="118382"/>
            </a:xfrm>
            <a:prstGeom prst="downArrow">
              <a:avLst>
                <a:gd name="adj1" fmla="val 22222"/>
                <a:gd name="adj2" fmla="val 50000"/>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65" name="Group 64"/>
          <p:cNvGrpSpPr/>
          <p:nvPr/>
        </p:nvGrpSpPr>
        <p:grpSpPr>
          <a:xfrm>
            <a:off x="2614146" y="913211"/>
            <a:ext cx="671285" cy="5530082"/>
            <a:chOff x="1929186" y="421141"/>
            <a:chExt cx="671285" cy="6414522"/>
          </a:xfrm>
        </p:grpSpPr>
        <p:grpSp>
          <p:nvGrpSpPr>
            <p:cNvPr id="66" name="Group 65"/>
            <p:cNvGrpSpPr/>
            <p:nvPr/>
          </p:nvGrpSpPr>
          <p:grpSpPr>
            <a:xfrm>
              <a:off x="1929186" y="489857"/>
              <a:ext cx="671285" cy="6345806"/>
              <a:chOff x="4843589" y="1748667"/>
              <a:chExt cx="647032" cy="5114868"/>
            </a:xfrm>
            <a:solidFill>
              <a:srgbClr val="008000"/>
            </a:solidFill>
          </p:grpSpPr>
          <p:grpSp>
            <p:nvGrpSpPr>
              <p:cNvPr id="68" name="Group 67"/>
              <p:cNvGrpSpPr/>
              <p:nvPr/>
            </p:nvGrpSpPr>
            <p:grpSpPr>
              <a:xfrm>
                <a:off x="5067795" y="1748667"/>
                <a:ext cx="198619" cy="4835376"/>
                <a:chOff x="5063562" y="1767565"/>
                <a:chExt cx="198619" cy="4835376"/>
              </a:xfrm>
              <a:grpFill/>
            </p:grpSpPr>
            <p:sp>
              <p:nvSpPr>
                <p:cNvPr id="70" name="Isosceles Triangle 69"/>
                <p:cNvSpPr/>
                <p:nvPr/>
              </p:nvSpPr>
              <p:spPr>
                <a:xfrm>
                  <a:off x="5063562" y="6332082"/>
                  <a:ext cx="198619" cy="270859"/>
                </a:xfrm>
                <a:prstGeom prst="triangle">
                  <a:avLst/>
                </a:prstGeom>
                <a:grp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solidFill>
                  </a:endParaRPr>
                </a:p>
              </p:txBody>
            </p:sp>
            <p:grpSp>
              <p:nvGrpSpPr>
                <p:cNvPr id="71" name="Group 70"/>
                <p:cNvGrpSpPr/>
                <p:nvPr/>
              </p:nvGrpSpPr>
              <p:grpSpPr>
                <a:xfrm>
                  <a:off x="5162871" y="1767565"/>
                  <a:ext cx="0" cy="4571382"/>
                  <a:chOff x="4981489" y="1827755"/>
                  <a:chExt cx="0" cy="4571382"/>
                </a:xfrm>
                <a:grpFill/>
              </p:grpSpPr>
              <p:cxnSp>
                <p:nvCxnSpPr>
                  <p:cNvPr id="72" name="Straight Connector 71"/>
                  <p:cNvCxnSpPr/>
                  <p:nvPr/>
                </p:nvCxnSpPr>
                <p:spPr>
                  <a:xfrm flipV="1">
                    <a:off x="4981489" y="1827755"/>
                    <a:ext cx="0" cy="4571382"/>
                  </a:xfrm>
                  <a:prstGeom prst="line">
                    <a:avLst/>
                  </a:prstGeom>
                  <a:grpFill/>
                  <a:ln w="38100" cmpd="sng">
                    <a:solidFill>
                      <a:srgbClr val="008000"/>
                    </a:solidFill>
                  </a:ln>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p:nvCxnSpPr>
                <p:spPr>
                  <a:xfrm flipV="1">
                    <a:off x="4981489" y="1827755"/>
                    <a:ext cx="0" cy="4571382"/>
                  </a:xfrm>
                  <a:prstGeom prst="line">
                    <a:avLst/>
                  </a:prstGeom>
                  <a:grpFill/>
                  <a:ln w="12700" cmpd="sng">
                    <a:solidFill>
                      <a:srgbClr val="008000"/>
                    </a:solidFill>
                  </a:ln>
                </p:spPr>
                <p:style>
                  <a:lnRef idx="2">
                    <a:schemeClr val="accent1"/>
                  </a:lnRef>
                  <a:fillRef idx="0">
                    <a:schemeClr val="accent1"/>
                  </a:fillRef>
                  <a:effectRef idx="1">
                    <a:schemeClr val="accent1"/>
                  </a:effectRef>
                  <a:fontRef idx="minor">
                    <a:schemeClr val="tx1"/>
                  </a:fontRef>
                </p:style>
              </p:cxnSp>
            </p:grpSp>
          </p:grpSp>
          <p:sp>
            <p:nvSpPr>
              <p:cNvPr id="69" name="TextBox 68"/>
              <p:cNvSpPr txBox="1"/>
              <p:nvPr/>
            </p:nvSpPr>
            <p:spPr>
              <a:xfrm>
                <a:off x="4843589" y="6520548"/>
                <a:ext cx="647032" cy="342987"/>
              </a:xfrm>
              <a:prstGeom prst="rect">
                <a:avLst/>
              </a:prstGeom>
              <a:grpFill/>
              <a:ln>
                <a:solidFill>
                  <a:srgbClr val="008000"/>
                </a:solidFill>
              </a:ln>
            </p:spPr>
            <p:txBody>
              <a:bodyPr wrap="none" rtlCol="0">
                <a:spAutoFit/>
              </a:bodyPr>
              <a:lstStyle/>
              <a:p>
                <a:pPr algn="ctr"/>
                <a:r>
                  <a:rPr lang="en-US" sz="1000" dirty="0" smtClean="0">
                    <a:solidFill>
                      <a:schemeClr val="bg1"/>
                    </a:solidFill>
                  </a:rPr>
                  <a:t>D</a:t>
                </a:r>
                <a:r>
                  <a:rPr lang="en-US" sz="1000" dirty="0">
                    <a:solidFill>
                      <a:schemeClr val="bg1"/>
                    </a:solidFill>
                  </a:rPr>
                  <a:t>-</a:t>
                </a:r>
                <a:r>
                  <a:rPr lang="en-US" sz="1000" dirty="0" smtClean="0">
                    <a:solidFill>
                      <a:schemeClr val="bg1"/>
                    </a:solidFill>
                  </a:rPr>
                  <a:t>SRR</a:t>
                </a:r>
              </a:p>
              <a:p>
                <a:pPr algn="ctr"/>
                <a:r>
                  <a:rPr lang="en-US" sz="800" dirty="0" smtClean="0">
                    <a:solidFill>
                      <a:schemeClr val="bg1"/>
                    </a:solidFill>
                  </a:rPr>
                  <a:t>2015 04 13</a:t>
                </a:r>
                <a:endParaRPr lang="en-US" sz="800" dirty="0">
                  <a:solidFill>
                    <a:schemeClr val="bg1"/>
                  </a:solidFill>
                </a:endParaRPr>
              </a:p>
            </p:txBody>
          </p:sp>
        </p:grpSp>
        <p:sp>
          <p:nvSpPr>
            <p:cNvPr id="67" name="Down Arrow 66"/>
            <p:cNvSpPr/>
            <p:nvPr/>
          </p:nvSpPr>
          <p:spPr>
            <a:xfrm>
              <a:off x="2219107" y="421141"/>
              <a:ext cx="91440" cy="118382"/>
            </a:xfrm>
            <a:prstGeom prst="downArrow">
              <a:avLst>
                <a:gd name="adj1" fmla="val 22222"/>
                <a:gd name="adj2" fmla="val 50000"/>
              </a:avLst>
            </a:prstGeom>
            <a:solidFill>
              <a:srgbClr val="008000"/>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74" name="Group 73"/>
          <p:cNvGrpSpPr/>
          <p:nvPr/>
        </p:nvGrpSpPr>
        <p:grpSpPr>
          <a:xfrm>
            <a:off x="4244211" y="919464"/>
            <a:ext cx="611966" cy="5569183"/>
            <a:chOff x="4030161" y="421141"/>
            <a:chExt cx="611966" cy="6459877"/>
          </a:xfrm>
        </p:grpSpPr>
        <p:grpSp>
          <p:nvGrpSpPr>
            <p:cNvPr id="75" name="Group 74"/>
            <p:cNvGrpSpPr/>
            <p:nvPr/>
          </p:nvGrpSpPr>
          <p:grpSpPr>
            <a:xfrm>
              <a:off x="4030161" y="489857"/>
              <a:ext cx="611966" cy="6391161"/>
              <a:chOff x="4861122" y="1748667"/>
              <a:chExt cx="611966" cy="5114868"/>
            </a:xfrm>
          </p:grpSpPr>
          <p:grpSp>
            <p:nvGrpSpPr>
              <p:cNvPr id="77" name="Group 76"/>
              <p:cNvGrpSpPr/>
              <p:nvPr/>
            </p:nvGrpSpPr>
            <p:grpSpPr>
              <a:xfrm>
                <a:off x="5067795" y="1748667"/>
                <a:ext cx="198619" cy="4835376"/>
                <a:chOff x="5063562" y="1767565"/>
                <a:chExt cx="198619" cy="4835376"/>
              </a:xfrm>
            </p:grpSpPr>
            <p:sp>
              <p:nvSpPr>
                <p:cNvPr id="79" name="Isosceles Triangle 78"/>
                <p:cNvSpPr/>
                <p:nvPr/>
              </p:nvSpPr>
              <p:spPr>
                <a:xfrm>
                  <a:off x="5063562" y="6332082"/>
                  <a:ext cx="198619" cy="270859"/>
                </a:xfrm>
                <a:prstGeom prst="triangle">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80" name="Group 79"/>
                <p:cNvGrpSpPr/>
                <p:nvPr/>
              </p:nvGrpSpPr>
              <p:grpSpPr>
                <a:xfrm>
                  <a:off x="5162871" y="1767565"/>
                  <a:ext cx="0" cy="4571382"/>
                  <a:chOff x="4981489" y="1827755"/>
                  <a:chExt cx="0" cy="4571382"/>
                </a:xfrm>
              </p:grpSpPr>
              <p:cxnSp>
                <p:nvCxnSpPr>
                  <p:cNvPr id="81" name="Straight Connector 80"/>
                  <p:cNvCxnSpPr/>
                  <p:nvPr/>
                </p:nvCxnSpPr>
                <p:spPr>
                  <a:xfrm flipV="1">
                    <a:off x="4981489" y="1827755"/>
                    <a:ext cx="0" cy="4571382"/>
                  </a:xfrm>
                  <a:prstGeom prst="line">
                    <a:avLst/>
                  </a:prstGeom>
                  <a:ln w="38100" cmpd="sng">
                    <a:solidFill>
                      <a:schemeClr val="bg1"/>
                    </a:solidFill>
                  </a:ln>
                </p:spPr>
                <p:style>
                  <a:lnRef idx="2">
                    <a:schemeClr val="accent1"/>
                  </a:lnRef>
                  <a:fillRef idx="0">
                    <a:schemeClr val="accent1"/>
                  </a:fillRef>
                  <a:effectRef idx="1">
                    <a:schemeClr val="accent1"/>
                  </a:effectRef>
                  <a:fontRef idx="minor">
                    <a:schemeClr val="tx1"/>
                  </a:fontRef>
                </p:style>
              </p:cxnSp>
              <p:cxnSp>
                <p:nvCxnSpPr>
                  <p:cNvPr id="82" name="Straight Connector 81"/>
                  <p:cNvCxnSpPr/>
                  <p:nvPr/>
                </p:nvCxnSpPr>
                <p:spPr>
                  <a:xfrm flipV="1">
                    <a:off x="4981489" y="1827755"/>
                    <a:ext cx="0" cy="4571382"/>
                  </a:xfrm>
                  <a:prstGeom prst="line">
                    <a:avLst/>
                  </a:prstGeom>
                  <a:ln w="12700" cmpd="sng">
                    <a:solidFill>
                      <a:schemeClr val="tx1"/>
                    </a:solidFill>
                  </a:ln>
                </p:spPr>
                <p:style>
                  <a:lnRef idx="2">
                    <a:schemeClr val="accent1"/>
                  </a:lnRef>
                  <a:fillRef idx="0">
                    <a:schemeClr val="accent1"/>
                  </a:fillRef>
                  <a:effectRef idx="1">
                    <a:schemeClr val="accent1"/>
                  </a:effectRef>
                  <a:fontRef idx="minor">
                    <a:schemeClr val="tx1"/>
                  </a:fontRef>
                </p:style>
              </p:cxnSp>
            </p:grpSp>
          </p:grpSp>
          <p:sp>
            <p:nvSpPr>
              <p:cNvPr id="78" name="TextBox 77"/>
              <p:cNvSpPr txBox="1"/>
              <p:nvPr/>
            </p:nvSpPr>
            <p:spPr>
              <a:xfrm>
                <a:off x="4861122" y="6520548"/>
                <a:ext cx="611966" cy="342987"/>
              </a:xfrm>
              <a:prstGeom prst="rect">
                <a:avLst/>
              </a:prstGeom>
              <a:noFill/>
            </p:spPr>
            <p:txBody>
              <a:bodyPr wrap="none" rtlCol="0">
                <a:spAutoFit/>
              </a:bodyPr>
              <a:lstStyle/>
              <a:p>
                <a:pPr algn="ctr"/>
                <a:r>
                  <a:rPr lang="en-US" sz="1000" dirty="0" smtClean="0"/>
                  <a:t>SDR</a:t>
                </a:r>
              </a:p>
              <a:p>
                <a:pPr algn="ctr"/>
                <a:r>
                  <a:rPr lang="en-US" sz="800" dirty="0" smtClean="0"/>
                  <a:t>April 2016</a:t>
                </a:r>
              </a:p>
            </p:txBody>
          </p:sp>
        </p:grpSp>
        <p:sp>
          <p:nvSpPr>
            <p:cNvPr id="76" name="Down Arrow 75"/>
            <p:cNvSpPr/>
            <p:nvPr/>
          </p:nvSpPr>
          <p:spPr>
            <a:xfrm>
              <a:off x="4290423" y="421141"/>
              <a:ext cx="91440" cy="118382"/>
            </a:xfrm>
            <a:prstGeom prst="downArrow">
              <a:avLst>
                <a:gd name="adj1" fmla="val 22222"/>
                <a:gd name="adj2" fmla="val 50000"/>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83" name="Group 82"/>
          <p:cNvGrpSpPr/>
          <p:nvPr/>
        </p:nvGrpSpPr>
        <p:grpSpPr>
          <a:xfrm>
            <a:off x="4771922" y="919464"/>
            <a:ext cx="572442" cy="5569183"/>
            <a:chOff x="4557872" y="421141"/>
            <a:chExt cx="572442" cy="6459877"/>
          </a:xfrm>
        </p:grpSpPr>
        <p:grpSp>
          <p:nvGrpSpPr>
            <p:cNvPr id="84" name="Group 83"/>
            <p:cNvGrpSpPr/>
            <p:nvPr/>
          </p:nvGrpSpPr>
          <p:grpSpPr>
            <a:xfrm>
              <a:off x="4557872" y="489857"/>
              <a:ext cx="572442" cy="6391161"/>
              <a:chOff x="4880884" y="1748667"/>
              <a:chExt cx="572442" cy="5114868"/>
            </a:xfrm>
          </p:grpSpPr>
          <p:grpSp>
            <p:nvGrpSpPr>
              <p:cNvPr id="86" name="Group 85"/>
              <p:cNvGrpSpPr/>
              <p:nvPr/>
            </p:nvGrpSpPr>
            <p:grpSpPr>
              <a:xfrm>
                <a:off x="5067795" y="1748667"/>
                <a:ext cx="198619" cy="4835376"/>
                <a:chOff x="5063562" y="1767565"/>
                <a:chExt cx="198619" cy="4835376"/>
              </a:xfrm>
            </p:grpSpPr>
            <p:sp>
              <p:nvSpPr>
                <p:cNvPr id="88" name="Isosceles Triangle 87"/>
                <p:cNvSpPr/>
                <p:nvPr/>
              </p:nvSpPr>
              <p:spPr>
                <a:xfrm>
                  <a:off x="5063562" y="6332082"/>
                  <a:ext cx="198619" cy="270859"/>
                </a:xfrm>
                <a:prstGeom prst="triangle">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89" name="Group 88"/>
                <p:cNvGrpSpPr/>
                <p:nvPr/>
              </p:nvGrpSpPr>
              <p:grpSpPr>
                <a:xfrm>
                  <a:off x="5162871" y="1767565"/>
                  <a:ext cx="0" cy="4571382"/>
                  <a:chOff x="4981489" y="1827755"/>
                  <a:chExt cx="0" cy="4571382"/>
                </a:xfrm>
              </p:grpSpPr>
              <p:cxnSp>
                <p:nvCxnSpPr>
                  <p:cNvPr id="90" name="Straight Connector 89"/>
                  <p:cNvCxnSpPr/>
                  <p:nvPr/>
                </p:nvCxnSpPr>
                <p:spPr>
                  <a:xfrm flipV="1">
                    <a:off x="4981489" y="1827755"/>
                    <a:ext cx="0" cy="4571382"/>
                  </a:xfrm>
                  <a:prstGeom prst="line">
                    <a:avLst/>
                  </a:prstGeom>
                  <a:ln w="38100" cmpd="sng">
                    <a:solidFill>
                      <a:schemeClr val="bg1"/>
                    </a:solidFill>
                  </a:ln>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p:nvCxnSpPr>
                <p:spPr>
                  <a:xfrm flipV="1">
                    <a:off x="4981489" y="1827755"/>
                    <a:ext cx="0" cy="4571382"/>
                  </a:xfrm>
                  <a:prstGeom prst="line">
                    <a:avLst/>
                  </a:prstGeom>
                  <a:ln w="12700" cmpd="sng">
                    <a:solidFill>
                      <a:schemeClr val="tx1"/>
                    </a:solidFill>
                  </a:ln>
                </p:spPr>
                <p:style>
                  <a:lnRef idx="2">
                    <a:schemeClr val="accent1"/>
                  </a:lnRef>
                  <a:fillRef idx="0">
                    <a:schemeClr val="accent1"/>
                  </a:fillRef>
                  <a:effectRef idx="1">
                    <a:schemeClr val="accent1"/>
                  </a:effectRef>
                  <a:fontRef idx="minor">
                    <a:schemeClr val="tx1"/>
                  </a:fontRef>
                </p:style>
              </p:cxnSp>
            </p:grpSp>
          </p:grpSp>
          <p:sp>
            <p:nvSpPr>
              <p:cNvPr id="87" name="TextBox 86"/>
              <p:cNvSpPr txBox="1"/>
              <p:nvPr/>
            </p:nvSpPr>
            <p:spPr>
              <a:xfrm>
                <a:off x="4880884" y="6520548"/>
                <a:ext cx="572442" cy="342987"/>
              </a:xfrm>
              <a:prstGeom prst="rect">
                <a:avLst/>
              </a:prstGeom>
              <a:noFill/>
            </p:spPr>
            <p:txBody>
              <a:bodyPr wrap="none" rtlCol="0">
                <a:spAutoFit/>
              </a:bodyPr>
              <a:lstStyle/>
              <a:p>
                <a:pPr algn="ctr"/>
                <a:r>
                  <a:rPr lang="en-US" sz="1000" dirty="0" smtClean="0"/>
                  <a:t>PDR</a:t>
                </a:r>
              </a:p>
              <a:p>
                <a:pPr algn="ctr"/>
                <a:r>
                  <a:rPr lang="en-US" sz="800" dirty="0" smtClean="0"/>
                  <a:t>July 2016</a:t>
                </a:r>
              </a:p>
            </p:txBody>
          </p:sp>
        </p:grpSp>
        <p:sp>
          <p:nvSpPr>
            <p:cNvPr id="85" name="Down Arrow 84"/>
            <p:cNvSpPr/>
            <p:nvPr/>
          </p:nvSpPr>
          <p:spPr>
            <a:xfrm>
              <a:off x="4798372" y="421141"/>
              <a:ext cx="91440" cy="118382"/>
            </a:xfrm>
            <a:prstGeom prst="downArrow">
              <a:avLst>
                <a:gd name="adj1" fmla="val 22222"/>
                <a:gd name="adj2" fmla="val 50000"/>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aphicFrame>
        <p:nvGraphicFramePr>
          <p:cNvPr id="92" name="Diagram 91"/>
          <p:cNvGraphicFramePr/>
          <p:nvPr>
            <p:extLst>
              <p:ext uri="{D42A27DB-BD31-4B8C-83A1-F6EECF244321}">
                <p14:modId xmlns:p14="http://schemas.microsoft.com/office/powerpoint/2010/main" val="1125790703"/>
              </p:ext>
            </p:extLst>
          </p:nvPr>
        </p:nvGraphicFramePr>
        <p:xfrm>
          <a:off x="92751" y="1048765"/>
          <a:ext cx="9051249" cy="4805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93" name="Group 92"/>
          <p:cNvGrpSpPr/>
          <p:nvPr/>
        </p:nvGrpSpPr>
        <p:grpSpPr>
          <a:xfrm>
            <a:off x="1198634" y="2925697"/>
            <a:ext cx="6901156" cy="1785178"/>
            <a:chOff x="1198634" y="2925697"/>
            <a:chExt cx="6901156" cy="1785178"/>
          </a:xfrm>
        </p:grpSpPr>
        <p:grpSp>
          <p:nvGrpSpPr>
            <p:cNvPr id="94" name="Group 93"/>
            <p:cNvGrpSpPr/>
            <p:nvPr/>
          </p:nvGrpSpPr>
          <p:grpSpPr>
            <a:xfrm>
              <a:off x="1198634" y="3066741"/>
              <a:ext cx="6901156" cy="1644134"/>
              <a:chOff x="752929" y="3075212"/>
              <a:chExt cx="7592785" cy="825502"/>
            </a:xfrm>
          </p:grpSpPr>
          <p:cxnSp>
            <p:nvCxnSpPr>
              <p:cNvPr id="96" name="Straight Connector 95"/>
              <p:cNvCxnSpPr/>
              <p:nvPr/>
            </p:nvCxnSpPr>
            <p:spPr>
              <a:xfrm flipV="1">
                <a:off x="752929" y="3075212"/>
                <a:ext cx="7592785" cy="0"/>
              </a:xfrm>
              <a:prstGeom prst="line">
                <a:avLst/>
              </a:prstGeom>
              <a:ln>
                <a:solidFill>
                  <a:srgbClr val="000000"/>
                </a:solidFill>
              </a:ln>
            </p:spPr>
            <p:style>
              <a:lnRef idx="2">
                <a:schemeClr val="accent1"/>
              </a:lnRef>
              <a:fillRef idx="0">
                <a:schemeClr val="accent1"/>
              </a:fillRef>
              <a:effectRef idx="1">
                <a:schemeClr val="accent1"/>
              </a:effectRef>
              <a:fontRef idx="minor">
                <a:schemeClr val="tx1"/>
              </a:fontRef>
            </p:style>
          </p:cxnSp>
          <p:cxnSp>
            <p:nvCxnSpPr>
              <p:cNvPr id="97" name="Straight Arrow Connector 96"/>
              <p:cNvCxnSpPr/>
              <p:nvPr/>
            </p:nvCxnSpPr>
            <p:spPr>
              <a:xfrm>
                <a:off x="752929" y="3075212"/>
                <a:ext cx="0" cy="825502"/>
              </a:xfrm>
              <a:prstGeom prst="straightConnector1">
                <a:avLst/>
              </a:prstGeom>
              <a:ln>
                <a:solidFill>
                  <a:srgbClr val="000000"/>
                </a:solidFill>
                <a:tailEnd type="arrow"/>
              </a:ln>
            </p:spPr>
            <p:style>
              <a:lnRef idx="2">
                <a:schemeClr val="accent1"/>
              </a:lnRef>
              <a:fillRef idx="0">
                <a:schemeClr val="accent1"/>
              </a:fillRef>
              <a:effectRef idx="1">
                <a:schemeClr val="accent1"/>
              </a:effectRef>
              <a:fontRef idx="minor">
                <a:schemeClr val="tx1"/>
              </a:fontRef>
            </p:style>
          </p:cxnSp>
          <p:cxnSp>
            <p:nvCxnSpPr>
              <p:cNvPr id="98" name="Straight Arrow Connector 97"/>
              <p:cNvCxnSpPr/>
              <p:nvPr/>
            </p:nvCxnSpPr>
            <p:spPr>
              <a:xfrm>
                <a:off x="8345714" y="3075212"/>
                <a:ext cx="0" cy="825502"/>
              </a:xfrm>
              <a:prstGeom prst="straightConnector1">
                <a:avLst/>
              </a:prstGeom>
              <a:ln>
                <a:solidFill>
                  <a:srgbClr val="000000"/>
                </a:solidFill>
                <a:tailEnd type="arrow"/>
              </a:ln>
            </p:spPr>
            <p:style>
              <a:lnRef idx="2">
                <a:schemeClr val="accent1"/>
              </a:lnRef>
              <a:fillRef idx="0">
                <a:schemeClr val="accent1"/>
              </a:fillRef>
              <a:effectRef idx="1">
                <a:schemeClr val="accent1"/>
              </a:effectRef>
              <a:fontRef idx="minor">
                <a:schemeClr val="tx1"/>
              </a:fontRef>
            </p:style>
          </p:cxnSp>
        </p:grpSp>
        <p:sp>
          <p:nvSpPr>
            <p:cNvPr id="95" name="TextBox 94"/>
            <p:cNvSpPr txBox="1"/>
            <p:nvPr/>
          </p:nvSpPr>
          <p:spPr>
            <a:xfrm>
              <a:off x="4084721" y="2925697"/>
              <a:ext cx="2520379" cy="369332"/>
            </a:xfrm>
            <a:prstGeom prst="rect">
              <a:avLst/>
            </a:prstGeom>
            <a:solidFill>
              <a:schemeClr val="bg1"/>
            </a:solidFill>
            <a:ln w="28575" cmpd="sng">
              <a:solidFill>
                <a:schemeClr val="tx1"/>
              </a:solidFill>
            </a:ln>
          </p:spPr>
          <p:txBody>
            <a:bodyPr wrap="none" rtlCol="0">
              <a:spAutoFit/>
            </a:bodyPr>
            <a:lstStyle/>
            <a:p>
              <a:r>
                <a:rPr lang="en-US" dirty="0" smtClean="0"/>
                <a:t>Not Funded / Authorized</a:t>
              </a:r>
              <a:endParaRPr lang="en-US" dirty="0"/>
            </a:p>
          </p:txBody>
        </p:sp>
      </p:grpSp>
    </p:spTree>
    <p:extLst>
      <p:ext uri="{BB962C8B-B14F-4D97-AF65-F5344CB8AC3E}">
        <p14:creationId xmlns:p14="http://schemas.microsoft.com/office/powerpoint/2010/main" val="404607786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1042774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1" name="think-cell Slide" r:id="rId16" imgW="6350000" imgH="6350000" progId="">
                  <p:embed/>
                </p:oleObj>
              </mc:Choice>
              <mc:Fallback>
                <p:oleObj name="think-cell Slide" r:id="rId16" imgW="6350000" imgH="635000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1" name="Rectangle 30"/>
          <p:cNvSpPr/>
          <p:nvPr/>
        </p:nvSpPr>
        <p:spPr>
          <a:xfrm>
            <a:off x="3221512" y="1160931"/>
            <a:ext cx="2084480" cy="68480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US" sz="1000" dirty="0" smtClean="0">
                <a:solidFill>
                  <a:prstClr val="black"/>
                </a:solidFill>
                <a:latin typeface="Calibri" charset="0"/>
                <a:ea typeface="ＭＳ Ｐゴシック" charset="0"/>
                <a:cs typeface="ＭＳ Ｐゴシック" charset="0"/>
              </a:rPr>
              <a:t>Material sent back to earth for processing. Controls (ground and/or flight) processed at the same time.</a:t>
            </a:r>
          </a:p>
        </p:txBody>
      </p:sp>
      <p:sp>
        <p:nvSpPr>
          <p:cNvPr id="41" name="TextBox 40"/>
          <p:cNvSpPr txBox="1"/>
          <p:nvPr/>
        </p:nvSpPr>
        <p:spPr>
          <a:xfrm>
            <a:off x="728473" y="1515140"/>
            <a:ext cx="1979791" cy="276999"/>
          </a:xfrm>
          <a:prstGeom prst="rect">
            <a:avLst/>
          </a:prstGeom>
          <a:noFill/>
        </p:spPr>
        <p:txBody>
          <a:bodyPr wrap="square" lIns="0" tIns="0" rIns="0" bIns="0" rtlCol="0" anchor="b">
            <a:spAutoFit/>
          </a:bodyPr>
          <a:lstStyle/>
          <a:p>
            <a:r>
              <a:rPr lang="en-US" b="1" dirty="0" smtClean="0">
                <a:solidFill>
                  <a:prstClr val="black"/>
                </a:solidFill>
                <a:latin typeface="Calibri"/>
              </a:rPr>
              <a:t>Experiment on ISS</a:t>
            </a:r>
            <a:endParaRPr lang="en-US" dirty="0">
              <a:solidFill>
                <a:prstClr val="black"/>
              </a:solidFill>
              <a:latin typeface="Calibri"/>
            </a:endParaRPr>
          </a:p>
        </p:txBody>
      </p:sp>
      <p:cxnSp>
        <p:nvCxnSpPr>
          <p:cNvPr id="38" name="Straight Connector 37"/>
          <p:cNvCxnSpPr/>
          <p:nvPr>
            <p:custDataLst>
              <p:tags r:id="rId3"/>
            </p:custDataLst>
          </p:nvPr>
        </p:nvCxnSpPr>
        <p:spPr>
          <a:xfrm>
            <a:off x="343595" y="1834886"/>
            <a:ext cx="2071132" cy="0"/>
          </a:xfrm>
          <a:prstGeom prst="line">
            <a:avLst/>
          </a:prstGeom>
          <a:ln w="3175">
            <a:solidFill>
              <a:srgbClr val="F0B71F"/>
            </a:solidFill>
            <a:headEnd type="oval" w="sm" len="sm"/>
            <a:tailEnd type="oval" w="sm" len="sm"/>
          </a:ln>
          <a:effectLst/>
        </p:spPr>
        <p:style>
          <a:lnRef idx="2">
            <a:schemeClr val="accent1"/>
          </a:lnRef>
          <a:fillRef idx="0">
            <a:schemeClr val="accent1"/>
          </a:fillRef>
          <a:effectRef idx="1">
            <a:schemeClr val="accent1"/>
          </a:effectRef>
          <a:fontRef idx="minor">
            <a:schemeClr val="tx1"/>
          </a:fontRef>
        </p:style>
      </p:cxnSp>
      <p:grpSp>
        <p:nvGrpSpPr>
          <p:cNvPr id="66" name="Group 65"/>
          <p:cNvGrpSpPr/>
          <p:nvPr/>
        </p:nvGrpSpPr>
        <p:grpSpPr>
          <a:xfrm>
            <a:off x="343595" y="1348308"/>
            <a:ext cx="331238" cy="420001"/>
            <a:chOff x="-2270125" y="4279901"/>
            <a:chExt cx="282575" cy="365125"/>
          </a:xfrm>
          <a:gradFill flip="none" rotWithShape="1">
            <a:gsLst>
              <a:gs pos="0">
                <a:srgbClr val="F0B71F">
                  <a:lumMod val="87000"/>
                </a:srgbClr>
              </a:gs>
              <a:gs pos="64000">
                <a:srgbClr val="F0B71F"/>
              </a:gs>
            </a:gsLst>
            <a:lin ang="16200000" scaled="1"/>
            <a:tileRect/>
          </a:gradFill>
          <a:effectLst/>
        </p:grpSpPr>
        <p:sp>
          <p:nvSpPr>
            <p:cNvPr id="67" name="Freeform 6"/>
            <p:cNvSpPr>
              <a:spLocks/>
            </p:cNvSpPr>
            <p:nvPr/>
          </p:nvSpPr>
          <p:spPr bwMode="auto">
            <a:xfrm>
              <a:off x="-2270125" y="4519613"/>
              <a:ext cx="123825" cy="19050"/>
            </a:xfrm>
            <a:custGeom>
              <a:avLst/>
              <a:gdLst>
                <a:gd name="T0" fmla="*/ 24 w 702"/>
                <a:gd name="T1" fmla="*/ 0 h 103"/>
                <a:gd name="T2" fmla="*/ 676 w 702"/>
                <a:gd name="T3" fmla="*/ 0 h 103"/>
                <a:gd name="T4" fmla="*/ 682 w 702"/>
                <a:gd name="T5" fmla="*/ 1 h 103"/>
                <a:gd name="T6" fmla="*/ 686 w 702"/>
                <a:gd name="T7" fmla="*/ 3 h 103"/>
                <a:gd name="T8" fmla="*/ 691 w 702"/>
                <a:gd name="T9" fmla="*/ 5 h 103"/>
                <a:gd name="T10" fmla="*/ 694 w 702"/>
                <a:gd name="T11" fmla="*/ 8 h 103"/>
                <a:gd name="T12" fmla="*/ 697 w 702"/>
                <a:gd name="T13" fmla="*/ 11 h 103"/>
                <a:gd name="T14" fmla="*/ 699 w 702"/>
                <a:gd name="T15" fmla="*/ 16 h 103"/>
                <a:gd name="T16" fmla="*/ 700 w 702"/>
                <a:gd name="T17" fmla="*/ 20 h 103"/>
                <a:gd name="T18" fmla="*/ 702 w 702"/>
                <a:gd name="T19" fmla="*/ 24 h 103"/>
                <a:gd name="T20" fmla="*/ 702 w 702"/>
                <a:gd name="T21" fmla="*/ 79 h 103"/>
                <a:gd name="T22" fmla="*/ 700 w 702"/>
                <a:gd name="T23" fmla="*/ 83 h 103"/>
                <a:gd name="T24" fmla="*/ 699 w 702"/>
                <a:gd name="T25" fmla="*/ 88 h 103"/>
                <a:gd name="T26" fmla="*/ 697 w 702"/>
                <a:gd name="T27" fmla="*/ 92 h 103"/>
                <a:gd name="T28" fmla="*/ 694 w 702"/>
                <a:gd name="T29" fmla="*/ 95 h 103"/>
                <a:gd name="T30" fmla="*/ 691 w 702"/>
                <a:gd name="T31" fmla="*/ 99 h 103"/>
                <a:gd name="T32" fmla="*/ 686 w 702"/>
                <a:gd name="T33" fmla="*/ 101 h 103"/>
                <a:gd name="T34" fmla="*/ 682 w 702"/>
                <a:gd name="T35" fmla="*/ 102 h 103"/>
                <a:gd name="T36" fmla="*/ 676 w 702"/>
                <a:gd name="T37" fmla="*/ 103 h 103"/>
                <a:gd name="T38" fmla="*/ 24 w 702"/>
                <a:gd name="T39" fmla="*/ 103 h 103"/>
                <a:gd name="T40" fmla="*/ 20 w 702"/>
                <a:gd name="T41" fmla="*/ 102 h 103"/>
                <a:gd name="T42" fmla="*/ 16 w 702"/>
                <a:gd name="T43" fmla="*/ 101 h 103"/>
                <a:gd name="T44" fmla="*/ 11 w 702"/>
                <a:gd name="T45" fmla="*/ 99 h 103"/>
                <a:gd name="T46" fmla="*/ 8 w 702"/>
                <a:gd name="T47" fmla="*/ 95 h 103"/>
                <a:gd name="T48" fmla="*/ 5 w 702"/>
                <a:gd name="T49" fmla="*/ 92 h 103"/>
                <a:gd name="T50" fmla="*/ 2 w 702"/>
                <a:gd name="T51" fmla="*/ 88 h 103"/>
                <a:gd name="T52" fmla="*/ 1 w 702"/>
                <a:gd name="T53" fmla="*/ 83 h 103"/>
                <a:gd name="T54" fmla="*/ 0 w 702"/>
                <a:gd name="T55" fmla="*/ 79 h 103"/>
                <a:gd name="T56" fmla="*/ 0 w 702"/>
                <a:gd name="T57" fmla="*/ 24 h 103"/>
                <a:gd name="T58" fmla="*/ 1 w 702"/>
                <a:gd name="T59" fmla="*/ 20 h 103"/>
                <a:gd name="T60" fmla="*/ 2 w 702"/>
                <a:gd name="T61" fmla="*/ 16 h 103"/>
                <a:gd name="T62" fmla="*/ 5 w 702"/>
                <a:gd name="T63" fmla="*/ 11 h 103"/>
                <a:gd name="T64" fmla="*/ 8 w 702"/>
                <a:gd name="T65" fmla="*/ 8 h 103"/>
                <a:gd name="T66" fmla="*/ 11 w 702"/>
                <a:gd name="T67" fmla="*/ 5 h 103"/>
                <a:gd name="T68" fmla="*/ 16 w 702"/>
                <a:gd name="T69" fmla="*/ 3 h 103"/>
                <a:gd name="T70" fmla="*/ 20 w 702"/>
                <a:gd name="T71" fmla="*/ 1 h 103"/>
                <a:gd name="T72" fmla="*/ 24 w 702"/>
                <a:gd name="T7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2" h="103">
                  <a:moveTo>
                    <a:pt x="24" y="0"/>
                  </a:moveTo>
                  <a:lnTo>
                    <a:pt x="676" y="0"/>
                  </a:lnTo>
                  <a:lnTo>
                    <a:pt x="682" y="1"/>
                  </a:lnTo>
                  <a:lnTo>
                    <a:pt x="686" y="3"/>
                  </a:lnTo>
                  <a:lnTo>
                    <a:pt x="691" y="5"/>
                  </a:lnTo>
                  <a:lnTo>
                    <a:pt x="694" y="8"/>
                  </a:lnTo>
                  <a:lnTo>
                    <a:pt x="697" y="11"/>
                  </a:lnTo>
                  <a:lnTo>
                    <a:pt x="699" y="16"/>
                  </a:lnTo>
                  <a:lnTo>
                    <a:pt x="700" y="20"/>
                  </a:lnTo>
                  <a:lnTo>
                    <a:pt x="702" y="24"/>
                  </a:lnTo>
                  <a:lnTo>
                    <a:pt x="702" y="79"/>
                  </a:lnTo>
                  <a:lnTo>
                    <a:pt x="700" y="83"/>
                  </a:lnTo>
                  <a:lnTo>
                    <a:pt x="699" y="88"/>
                  </a:lnTo>
                  <a:lnTo>
                    <a:pt x="697" y="92"/>
                  </a:lnTo>
                  <a:lnTo>
                    <a:pt x="694" y="95"/>
                  </a:lnTo>
                  <a:lnTo>
                    <a:pt x="691" y="99"/>
                  </a:lnTo>
                  <a:lnTo>
                    <a:pt x="686" y="101"/>
                  </a:lnTo>
                  <a:lnTo>
                    <a:pt x="682" y="102"/>
                  </a:lnTo>
                  <a:lnTo>
                    <a:pt x="676" y="103"/>
                  </a:lnTo>
                  <a:lnTo>
                    <a:pt x="24" y="103"/>
                  </a:lnTo>
                  <a:lnTo>
                    <a:pt x="20" y="102"/>
                  </a:lnTo>
                  <a:lnTo>
                    <a:pt x="16" y="101"/>
                  </a:lnTo>
                  <a:lnTo>
                    <a:pt x="11" y="99"/>
                  </a:lnTo>
                  <a:lnTo>
                    <a:pt x="8" y="95"/>
                  </a:lnTo>
                  <a:lnTo>
                    <a:pt x="5" y="92"/>
                  </a:lnTo>
                  <a:lnTo>
                    <a:pt x="2" y="88"/>
                  </a:lnTo>
                  <a:lnTo>
                    <a:pt x="1" y="83"/>
                  </a:lnTo>
                  <a:lnTo>
                    <a:pt x="0" y="79"/>
                  </a:lnTo>
                  <a:lnTo>
                    <a:pt x="0" y="24"/>
                  </a:lnTo>
                  <a:lnTo>
                    <a:pt x="1" y="20"/>
                  </a:lnTo>
                  <a:lnTo>
                    <a:pt x="2" y="16"/>
                  </a:lnTo>
                  <a:lnTo>
                    <a:pt x="5" y="11"/>
                  </a:lnTo>
                  <a:lnTo>
                    <a:pt x="8" y="8"/>
                  </a:lnTo>
                  <a:lnTo>
                    <a:pt x="11" y="5"/>
                  </a:lnTo>
                  <a:lnTo>
                    <a:pt x="16" y="3"/>
                  </a:lnTo>
                  <a:lnTo>
                    <a:pt x="20" y="1"/>
                  </a:lnTo>
                  <a:lnTo>
                    <a:pt x="24" y="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68" name="Freeform 7"/>
            <p:cNvSpPr>
              <a:spLocks noEditPoints="1"/>
            </p:cNvSpPr>
            <p:nvPr/>
          </p:nvSpPr>
          <p:spPr bwMode="auto">
            <a:xfrm>
              <a:off x="-2236787" y="4279901"/>
              <a:ext cx="231775" cy="338138"/>
            </a:xfrm>
            <a:custGeom>
              <a:avLst/>
              <a:gdLst>
                <a:gd name="T0" fmla="*/ 240 w 1314"/>
                <a:gd name="T1" fmla="*/ 1794 h 1922"/>
                <a:gd name="T2" fmla="*/ 1304 w 1314"/>
                <a:gd name="T3" fmla="*/ 1896 h 1922"/>
                <a:gd name="T4" fmla="*/ 1247 w 1314"/>
                <a:gd name="T5" fmla="*/ 1775 h 1922"/>
                <a:gd name="T6" fmla="*/ 1174 w 1314"/>
                <a:gd name="T7" fmla="*/ 1669 h 1922"/>
                <a:gd name="T8" fmla="*/ 1084 w 1314"/>
                <a:gd name="T9" fmla="*/ 1579 h 1922"/>
                <a:gd name="T10" fmla="*/ 1115 w 1314"/>
                <a:gd name="T11" fmla="*/ 1347 h 1922"/>
                <a:gd name="T12" fmla="*/ 1095 w 1314"/>
                <a:gd name="T13" fmla="*/ 1126 h 1922"/>
                <a:gd name="T14" fmla="*/ 1023 w 1314"/>
                <a:gd name="T15" fmla="*/ 918 h 1922"/>
                <a:gd name="T16" fmla="*/ 698 w 1314"/>
                <a:gd name="T17" fmla="*/ 599 h 1922"/>
                <a:gd name="T18" fmla="*/ 681 w 1314"/>
                <a:gd name="T19" fmla="*/ 579 h 1922"/>
                <a:gd name="T20" fmla="*/ 614 w 1314"/>
                <a:gd name="T21" fmla="*/ 547 h 1922"/>
                <a:gd name="T22" fmla="*/ 517 w 1314"/>
                <a:gd name="T23" fmla="*/ 551 h 1922"/>
                <a:gd name="T24" fmla="*/ 476 w 1314"/>
                <a:gd name="T25" fmla="*/ 571 h 1922"/>
                <a:gd name="T26" fmla="*/ 450 w 1314"/>
                <a:gd name="T27" fmla="*/ 600 h 1922"/>
                <a:gd name="T28" fmla="*/ 431 w 1314"/>
                <a:gd name="T29" fmla="*/ 623 h 1922"/>
                <a:gd name="T30" fmla="*/ 417 w 1314"/>
                <a:gd name="T31" fmla="*/ 606 h 1922"/>
                <a:gd name="T32" fmla="*/ 445 w 1314"/>
                <a:gd name="T33" fmla="*/ 562 h 1922"/>
                <a:gd name="T34" fmla="*/ 488 w 1314"/>
                <a:gd name="T35" fmla="*/ 534 h 1922"/>
                <a:gd name="T36" fmla="*/ 541 w 1314"/>
                <a:gd name="T37" fmla="*/ 518 h 1922"/>
                <a:gd name="T38" fmla="*/ 597 w 1314"/>
                <a:gd name="T39" fmla="*/ 516 h 1922"/>
                <a:gd name="T40" fmla="*/ 655 w 1314"/>
                <a:gd name="T41" fmla="*/ 530 h 1922"/>
                <a:gd name="T42" fmla="*/ 731 w 1314"/>
                <a:gd name="T43" fmla="*/ 496 h 1922"/>
                <a:gd name="T44" fmla="*/ 798 w 1314"/>
                <a:gd name="T45" fmla="*/ 483 h 1922"/>
                <a:gd name="T46" fmla="*/ 818 w 1314"/>
                <a:gd name="T47" fmla="*/ 458 h 1922"/>
                <a:gd name="T48" fmla="*/ 812 w 1314"/>
                <a:gd name="T49" fmla="*/ 426 h 1922"/>
                <a:gd name="T50" fmla="*/ 765 w 1314"/>
                <a:gd name="T51" fmla="*/ 408 h 1922"/>
                <a:gd name="T52" fmla="*/ 788 w 1314"/>
                <a:gd name="T53" fmla="*/ 296 h 1922"/>
                <a:gd name="T54" fmla="*/ 845 w 1314"/>
                <a:gd name="T55" fmla="*/ 184 h 1922"/>
                <a:gd name="T56" fmla="*/ 917 w 1314"/>
                <a:gd name="T57" fmla="*/ 182 h 1922"/>
                <a:gd name="T58" fmla="*/ 914 w 1314"/>
                <a:gd name="T59" fmla="*/ 154 h 1922"/>
                <a:gd name="T60" fmla="*/ 748 w 1314"/>
                <a:gd name="T61" fmla="*/ 58 h 1922"/>
                <a:gd name="T62" fmla="*/ 573 w 1314"/>
                <a:gd name="T63" fmla="*/ 0 h 1922"/>
                <a:gd name="T64" fmla="*/ 549 w 1314"/>
                <a:gd name="T65" fmla="*/ 15 h 1922"/>
                <a:gd name="T66" fmla="*/ 593 w 1314"/>
                <a:gd name="T67" fmla="*/ 73 h 1922"/>
                <a:gd name="T68" fmla="*/ 543 w 1314"/>
                <a:gd name="T69" fmla="*/ 185 h 1922"/>
                <a:gd name="T70" fmla="*/ 472 w 1314"/>
                <a:gd name="T71" fmla="*/ 274 h 1922"/>
                <a:gd name="T72" fmla="*/ 429 w 1314"/>
                <a:gd name="T73" fmla="*/ 249 h 1922"/>
                <a:gd name="T74" fmla="*/ 400 w 1314"/>
                <a:gd name="T75" fmla="*/ 264 h 1922"/>
                <a:gd name="T76" fmla="*/ 394 w 1314"/>
                <a:gd name="T77" fmla="*/ 296 h 1922"/>
                <a:gd name="T78" fmla="*/ 425 w 1314"/>
                <a:gd name="T79" fmla="*/ 356 h 1922"/>
                <a:gd name="T80" fmla="*/ 277 w 1314"/>
                <a:gd name="T81" fmla="*/ 684 h 1922"/>
                <a:gd name="T82" fmla="*/ 111 w 1314"/>
                <a:gd name="T83" fmla="*/ 996 h 1922"/>
                <a:gd name="T84" fmla="*/ 65 w 1314"/>
                <a:gd name="T85" fmla="*/ 994 h 1922"/>
                <a:gd name="T86" fmla="*/ 49 w 1314"/>
                <a:gd name="T87" fmla="*/ 1011 h 1922"/>
                <a:gd name="T88" fmla="*/ 44 w 1314"/>
                <a:gd name="T89" fmla="*/ 1040 h 1922"/>
                <a:gd name="T90" fmla="*/ 127 w 1314"/>
                <a:gd name="T91" fmla="*/ 1178 h 1922"/>
                <a:gd name="T92" fmla="*/ 216 w 1314"/>
                <a:gd name="T93" fmla="*/ 1266 h 1922"/>
                <a:gd name="T94" fmla="*/ 376 w 1314"/>
                <a:gd name="T95" fmla="*/ 1243 h 1922"/>
                <a:gd name="T96" fmla="*/ 455 w 1314"/>
                <a:gd name="T97" fmla="*/ 1221 h 1922"/>
                <a:gd name="T98" fmla="*/ 464 w 1314"/>
                <a:gd name="T99" fmla="*/ 1197 h 1922"/>
                <a:gd name="T100" fmla="*/ 452 w 1314"/>
                <a:gd name="T101" fmla="*/ 1168 h 1922"/>
                <a:gd name="T102" fmla="*/ 577 w 1314"/>
                <a:gd name="T103" fmla="*/ 674 h 1922"/>
                <a:gd name="T104" fmla="*/ 621 w 1314"/>
                <a:gd name="T105" fmla="*/ 697 h 1922"/>
                <a:gd name="T106" fmla="*/ 626 w 1314"/>
                <a:gd name="T107" fmla="*/ 749 h 1922"/>
                <a:gd name="T108" fmla="*/ 587 w 1314"/>
                <a:gd name="T109" fmla="*/ 780 h 1922"/>
                <a:gd name="T110" fmla="*/ 538 w 1314"/>
                <a:gd name="T111" fmla="*/ 766 h 1922"/>
                <a:gd name="T112" fmla="*/ 524 w 1314"/>
                <a:gd name="T113" fmla="*/ 717 h 1922"/>
                <a:gd name="T114" fmla="*/ 556 w 1314"/>
                <a:gd name="T115" fmla="*/ 679 h 1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14" h="1922">
                  <a:moveTo>
                    <a:pt x="514" y="944"/>
                  </a:moveTo>
                  <a:lnTo>
                    <a:pt x="669" y="944"/>
                  </a:lnTo>
                  <a:lnTo>
                    <a:pt x="690" y="1522"/>
                  </a:lnTo>
                  <a:lnTo>
                    <a:pt x="0" y="1502"/>
                  </a:lnTo>
                  <a:lnTo>
                    <a:pt x="240" y="1794"/>
                  </a:lnTo>
                  <a:lnTo>
                    <a:pt x="173" y="1871"/>
                  </a:lnTo>
                  <a:lnTo>
                    <a:pt x="460" y="1876"/>
                  </a:lnTo>
                  <a:lnTo>
                    <a:pt x="454" y="1917"/>
                  </a:lnTo>
                  <a:lnTo>
                    <a:pt x="1314" y="1922"/>
                  </a:lnTo>
                  <a:lnTo>
                    <a:pt x="1304" y="1896"/>
                  </a:lnTo>
                  <a:lnTo>
                    <a:pt x="1294" y="1871"/>
                  </a:lnTo>
                  <a:lnTo>
                    <a:pt x="1283" y="1846"/>
                  </a:lnTo>
                  <a:lnTo>
                    <a:pt x="1271" y="1822"/>
                  </a:lnTo>
                  <a:lnTo>
                    <a:pt x="1259" y="1798"/>
                  </a:lnTo>
                  <a:lnTo>
                    <a:pt x="1247" y="1775"/>
                  </a:lnTo>
                  <a:lnTo>
                    <a:pt x="1233" y="1752"/>
                  </a:lnTo>
                  <a:lnTo>
                    <a:pt x="1220" y="1730"/>
                  </a:lnTo>
                  <a:lnTo>
                    <a:pt x="1205" y="1709"/>
                  </a:lnTo>
                  <a:lnTo>
                    <a:pt x="1190" y="1688"/>
                  </a:lnTo>
                  <a:lnTo>
                    <a:pt x="1174" y="1669"/>
                  </a:lnTo>
                  <a:lnTo>
                    <a:pt x="1157" y="1649"/>
                  </a:lnTo>
                  <a:lnTo>
                    <a:pt x="1140" y="1631"/>
                  </a:lnTo>
                  <a:lnTo>
                    <a:pt x="1122" y="1613"/>
                  </a:lnTo>
                  <a:lnTo>
                    <a:pt x="1103" y="1596"/>
                  </a:lnTo>
                  <a:lnTo>
                    <a:pt x="1084" y="1579"/>
                  </a:lnTo>
                  <a:lnTo>
                    <a:pt x="1095" y="1531"/>
                  </a:lnTo>
                  <a:lnTo>
                    <a:pt x="1103" y="1484"/>
                  </a:lnTo>
                  <a:lnTo>
                    <a:pt x="1110" y="1438"/>
                  </a:lnTo>
                  <a:lnTo>
                    <a:pt x="1113" y="1392"/>
                  </a:lnTo>
                  <a:lnTo>
                    <a:pt x="1115" y="1347"/>
                  </a:lnTo>
                  <a:lnTo>
                    <a:pt x="1115" y="1302"/>
                  </a:lnTo>
                  <a:lnTo>
                    <a:pt x="1114" y="1257"/>
                  </a:lnTo>
                  <a:lnTo>
                    <a:pt x="1110" y="1213"/>
                  </a:lnTo>
                  <a:lnTo>
                    <a:pt x="1103" y="1169"/>
                  </a:lnTo>
                  <a:lnTo>
                    <a:pt x="1095" y="1126"/>
                  </a:lnTo>
                  <a:lnTo>
                    <a:pt x="1085" y="1084"/>
                  </a:lnTo>
                  <a:lnTo>
                    <a:pt x="1073" y="1041"/>
                  </a:lnTo>
                  <a:lnTo>
                    <a:pt x="1058" y="1000"/>
                  </a:lnTo>
                  <a:lnTo>
                    <a:pt x="1041" y="958"/>
                  </a:lnTo>
                  <a:lnTo>
                    <a:pt x="1023" y="918"/>
                  </a:lnTo>
                  <a:lnTo>
                    <a:pt x="1002" y="877"/>
                  </a:lnTo>
                  <a:lnTo>
                    <a:pt x="705" y="603"/>
                  </a:lnTo>
                  <a:lnTo>
                    <a:pt x="702" y="602"/>
                  </a:lnTo>
                  <a:lnTo>
                    <a:pt x="700" y="601"/>
                  </a:lnTo>
                  <a:lnTo>
                    <a:pt x="698" y="599"/>
                  </a:lnTo>
                  <a:lnTo>
                    <a:pt x="695" y="597"/>
                  </a:lnTo>
                  <a:lnTo>
                    <a:pt x="692" y="593"/>
                  </a:lnTo>
                  <a:lnTo>
                    <a:pt x="689" y="587"/>
                  </a:lnTo>
                  <a:lnTo>
                    <a:pt x="680" y="581"/>
                  </a:lnTo>
                  <a:lnTo>
                    <a:pt x="681" y="579"/>
                  </a:lnTo>
                  <a:lnTo>
                    <a:pt x="670" y="571"/>
                  </a:lnTo>
                  <a:lnTo>
                    <a:pt x="658" y="563"/>
                  </a:lnTo>
                  <a:lnTo>
                    <a:pt x="645" y="557"/>
                  </a:lnTo>
                  <a:lnTo>
                    <a:pt x="632" y="551"/>
                  </a:lnTo>
                  <a:lnTo>
                    <a:pt x="614" y="547"/>
                  </a:lnTo>
                  <a:lnTo>
                    <a:pt x="594" y="543"/>
                  </a:lnTo>
                  <a:lnTo>
                    <a:pt x="574" y="542"/>
                  </a:lnTo>
                  <a:lnTo>
                    <a:pt x="555" y="543"/>
                  </a:lnTo>
                  <a:lnTo>
                    <a:pt x="535" y="547"/>
                  </a:lnTo>
                  <a:lnTo>
                    <a:pt x="517" y="551"/>
                  </a:lnTo>
                  <a:lnTo>
                    <a:pt x="508" y="554"/>
                  </a:lnTo>
                  <a:lnTo>
                    <a:pt x="499" y="558"/>
                  </a:lnTo>
                  <a:lnTo>
                    <a:pt x="491" y="562"/>
                  </a:lnTo>
                  <a:lnTo>
                    <a:pt x="484" y="566"/>
                  </a:lnTo>
                  <a:lnTo>
                    <a:pt x="476" y="571"/>
                  </a:lnTo>
                  <a:lnTo>
                    <a:pt x="470" y="576"/>
                  </a:lnTo>
                  <a:lnTo>
                    <a:pt x="464" y="582"/>
                  </a:lnTo>
                  <a:lnTo>
                    <a:pt x="459" y="587"/>
                  </a:lnTo>
                  <a:lnTo>
                    <a:pt x="454" y="594"/>
                  </a:lnTo>
                  <a:lnTo>
                    <a:pt x="450" y="600"/>
                  </a:lnTo>
                  <a:lnTo>
                    <a:pt x="447" y="607"/>
                  </a:lnTo>
                  <a:lnTo>
                    <a:pt x="443" y="614"/>
                  </a:lnTo>
                  <a:lnTo>
                    <a:pt x="441" y="619"/>
                  </a:lnTo>
                  <a:lnTo>
                    <a:pt x="437" y="622"/>
                  </a:lnTo>
                  <a:lnTo>
                    <a:pt x="431" y="623"/>
                  </a:lnTo>
                  <a:lnTo>
                    <a:pt x="426" y="623"/>
                  </a:lnTo>
                  <a:lnTo>
                    <a:pt x="422" y="621"/>
                  </a:lnTo>
                  <a:lnTo>
                    <a:pt x="418" y="617"/>
                  </a:lnTo>
                  <a:lnTo>
                    <a:pt x="417" y="611"/>
                  </a:lnTo>
                  <a:lnTo>
                    <a:pt x="417" y="606"/>
                  </a:lnTo>
                  <a:lnTo>
                    <a:pt x="422" y="596"/>
                  </a:lnTo>
                  <a:lnTo>
                    <a:pt x="426" y="587"/>
                  </a:lnTo>
                  <a:lnTo>
                    <a:pt x="431" y="578"/>
                  </a:lnTo>
                  <a:lnTo>
                    <a:pt x="438" y="570"/>
                  </a:lnTo>
                  <a:lnTo>
                    <a:pt x="445" y="562"/>
                  </a:lnTo>
                  <a:lnTo>
                    <a:pt x="452" y="555"/>
                  </a:lnTo>
                  <a:lnTo>
                    <a:pt x="460" y="549"/>
                  </a:lnTo>
                  <a:lnTo>
                    <a:pt x="470" y="543"/>
                  </a:lnTo>
                  <a:lnTo>
                    <a:pt x="478" y="538"/>
                  </a:lnTo>
                  <a:lnTo>
                    <a:pt x="488" y="534"/>
                  </a:lnTo>
                  <a:lnTo>
                    <a:pt x="498" y="529"/>
                  </a:lnTo>
                  <a:lnTo>
                    <a:pt x="508" y="525"/>
                  </a:lnTo>
                  <a:lnTo>
                    <a:pt x="519" y="523"/>
                  </a:lnTo>
                  <a:lnTo>
                    <a:pt x="530" y="519"/>
                  </a:lnTo>
                  <a:lnTo>
                    <a:pt x="541" y="518"/>
                  </a:lnTo>
                  <a:lnTo>
                    <a:pt x="551" y="516"/>
                  </a:lnTo>
                  <a:lnTo>
                    <a:pt x="563" y="515"/>
                  </a:lnTo>
                  <a:lnTo>
                    <a:pt x="574" y="515"/>
                  </a:lnTo>
                  <a:lnTo>
                    <a:pt x="585" y="515"/>
                  </a:lnTo>
                  <a:lnTo>
                    <a:pt x="597" y="516"/>
                  </a:lnTo>
                  <a:lnTo>
                    <a:pt x="608" y="517"/>
                  </a:lnTo>
                  <a:lnTo>
                    <a:pt x="619" y="519"/>
                  </a:lnTo>
                  <a:lnTo>
                    <a:pt x="630" y="523"/>
                  </a:lnTo>
                  <a:lnTo>
                    <a:pt x="640" y="525"/>
                  </a:lnTo>
                  <a:lnTo>
                    <a:pt x="655" y="530"/>
                  </a:lnTo>
                  <a:lnTo>
                    <a:pt x="668" y="537"/>
                  </a:lnTo>
                  <a:lnTo>
                    <a:pt x="681" y="545"/>
                  </a:lnTo>
                  <a:lnTo>
                    <a:pt x="693" y="553"/>
                  </a:lnTo>
                  <a:lnTo>
                    <a:pt x="719" y="496"/>
                  </a:lnTo>
                  <a:lnTo>
                    <a:pt x="731" y="496"/>
                  </a:lnTo>
                  <a:lnTo>
                    <a:pt x="742" y="498"/>
                  </a:lnTo>
                  <a:lnTo>
                    <a:pt x="754" y="498"/>
                  </a:lnTo>
                  <a:lnTo>
                    <a:pt x="766" y="498"/>
                  </a:lnTo>
                  <a:lnTo>
                    <a:pt x="784" y="491"/>
                  </a:lnTo>
                  <a:lnTo>
                    <a:pt x="798" y="483"/>
                  </a:lnTo>
                  <a:lnTo>
                    <a:pt x="803" y="479"/>
                  </a:lnTo>
                  <a:lnTo>
                    <a:pt x="809" y="474"/>
                  </a:lnTo>
                  <a:lnTo>
                    <a:pt x="813" y="469"/>
                  </a:lnTo>
                  <a:lnTo>
                    <a:pt x="815" y="464"/>
                  </a:lnTo>
                  <a:lnTo>
                    <a:pt x="818" y="458"/>
                  </a:lnTo>
                  <a:lnTo>
                    <a:pt x="819" y="453"/>
                  </a:lnTo>
                  <a:lnTo>
                    <a:pt x="819" y="446"/>
                  </a:lnTo>
                  <a:lnTo>
                    <a:pt x="818" y="440"/>
                  </a:lnTo>
                  <a:lnTo>
                    <a:pt x="815" y="432"/>
                  </a:lnTo>
                  <a:lnTo>
                    <a:pt x="812" y="426"/>
                  </a:lnTo>
                  <a:lnTo>
                    <a:pt x="807" y="418"/>
                  </a:lnTo>
                  <a:lnTo>
                    <a:pt x="801" y="409"/>
                  </a:lnTo>
                  <a:lnTo>
                    <a:pt x="789" y="409"/>
                  </a:lnTo>
                  <a:lnTo>
                    <a:pt x="777" y="409"/>
                  </a:lnTo>
                  <a:lnTo>
                    <a:pt x="765" y="408"/>
                  </a:lnTo>
                  <a:lnTo>
                    <a:pt x="753" y="408"/>
                  </a:lnTo>
                  <a:lnTo>
                    <a:pt x="762" y="380"/>
                  </a:lnTo>
                  <a:lnTo>
                    <a:pt x="771" y="352"/>
                  </a:lnTo>
                  <a:lnTo>
                    <a:pt x="779" y="324"/>
                  </a:lnTo>
                  <a:lnTo>
                    <a:pt x="788" y="296"/>
                  </a:lnTo>
                  <a:lnTo>
                    <a:pt x="797" y="267"/>
                  </a:lnTo>
                  <a:lnTo>
                    <a:pt x="806" y="240"/>
                  </a:lnTo>
                  <a:lnTo>
                    <a:pt x="814" y="212"/>
                  </a:lnTo>
                  <a:lnTo>
                    <a:pt x="823" y="183"/>
                  </a:lnTo>
                  <a:lnTo>
                    <a:pt x="845" y="184"/>
                  </a:lnTo>
                  <a:lnTo>
                    <a:pt x="866" y="185"/>
                  </a:lnTo>
                  <a:lnTo>
                    <a:pt x="886" y="186"/>
                  </a:lnTo>
                  <a:lnTo>
                    <a:pt x="907" y="188"/>
                  </a:lnTo>
                  <a:lnTo>
                    <a:pt x="912" y="185"/>
                  </a:lnTo>
                  <a:lnTo>
                    <a:pt x="917" y="182"/>
                  </a:lnTo>
                  <a:lnTo>
                    <a:pt x="919" y="177"/>
                  </a:lnTo>
                  <a:lnTo>
                    <a:pt x="920" y="171"/>
                  </a:lnTo>
                  <a:lnTo>
                    <a:pt x="919" y="166"/>
                  </a:lnTo>
                  <a:lnTo>
                    <a:pt x="917" y="159"/>
                  </a:lnTo>
                  <a:lnTo>
                    <a:pt x="914" y="154"/>
                  </a:lnTo>
                  <a:lnTo>
                    <a:pt x="908" y="147"/>
                  </a:lnTo>
                  <a:lnTo>
                    <a:pt x="851" y="113"/>
                  </a:lnTo>
                  <a:lnTo>
                    <a:pt x="810" y="88"/>
                  </a:lnTo>
                  <a:lnTo>
                    <a:pt x="776" y="71"/>
                  </a:lnTo>
                  <a:lnTo>
                    <a:pt x="748" y="58"/>
                  </a:lnTo>
                  <a:lnTo>
                    <a:pt x="719" y="47"/>
                  </a:lnTo>
                  <a:lnTo>
                    <a:pt x="686" y="35"/>
                  </a:lnTo>
                  <a:lnTo>
                    <a:pt x="641" y="21"/>
                  </a:lnTo>
                  <a:lnTo>
                    <a:pt x="581" y="1"/>
                  </a:lnTo>
                  <a:lnTo>
                    <a:pt x="573" y="0"/>
                  </a:lnTo>
                  <a:lnTo>
                    <a:pt x="567" y="1"/>
                  </a:lnTo>
                  <a:lnTo>
                    <a:pt x="560" y="3"/>
                  </a:lnTo>
                  <a:lnTo>
                    <a:pt x="556" y="6"/>
                  </a:lnTo>
                  <a:lnTo>
                    <a:pt x="551" y="11"/>
                  </a:lnTo>
                  <a:lnTo>
                    <a:pt x="549" y="15"/>
                  </a:lnTo>
                  <a:lnTo>
                    <a:pt x="549" y="21"/>
                  </a:lnTo>
                  <a:lnTo>
                    <a:pt x="550" y="26"/>
                  </a:lnTo>
                  <a:lnTo>
                    <a:pt x="565" y="41"/>
                  </a:lnTo>
                  <a:lnTo>
                    <a:pt x="579" y="57"/>
                  </a:lnTo>
                  <a:lnTo>
                    <a:pt x="593" y="73"/>
                  </a:lnTo>
                  <a:lnTo>
                    <a:pt x="607" y="88"/>
                  </a:lnTo>
                  <a:lnTo>
                    <a:pt x="591" y="112"/>
                  </a:lnTo>
                  <a:lnTo>
                    <a:pt x="575" y="136"/>
                  </a:lnTo>
                  <a:lnTo>
                    <a:pt x="559" y="160"/>
                  </a:lnTo>
                  <a:lnTo>
                    <a:pt x="543" y="185"/>
                  </a:lnTo>
                  <a:lnTo>
                    <a:pt x="527" y="209"/>
                  </a:lnTo>
                  <a:lnTo>
                    <a:pt x="511" y="233"/>
                  </a:lnTo>
                  <a:lnTo>
                    <a:pt x="495" y="259"/>
                  </a:lnTo>
                  <a:lnTo>
                    <a:pt x="479" y="283"/>
                  </a:lnTo>
                  <a:lnTo>
                    <a:pt x="472" y="274"/>
                  </a:lnTo>
                  <a:lnTo>
                    <a:pt x="464" y="264"/>
                  </a:lnTo>
                  <a:lnTo>
                    <a:pt x="457" y="255"/>
                  </a:lnTo>
                  <a:lnTo>
                    <a:pt x="448" y="247"/>
                  </a:lnTo>
                  <a:lnTo>
                    <a:pt x="438" y="247"/>
                  </a:lnTo>
                  <a:lnTo>
                    <a:pt x="429" y="249"/>
                  </a:lnTo>
                  <a:lnTo>
                    <a:pt x="422" y="250"/>
                  </a:lnTo>
                  <a:lnTo>
                    <a:pt x="414" y="253"/>
                  </a:lnTo>
                  <a:lnTo>
                    <a:pt x="409" y="256"/>
                  </a:lnTo>
                  <a:lnTo>
                    <a:pt x="404" y="260"/>
                  </a:lnTo>
                  <a:lnTo>
                    <a:pt x="400" y="264"/>
                  </a:lnTo>
                  <a:lnTo>
                    <a:pt x="398" y="269"/>
                  </a:lnTo>
                  <a:lnTo>
                    <a:pt x="395" y="275"/>
                  </a:lnTo>
                  <a:lnTo>
                    <a:pt x="394" y="281"/>
                  </a:lnTo>
                  <a:lnTo>
                    <a:pt x="393" y="288"/>
                  </a:lnTo>
                  <a:lnTo>
                    <a:pt x="394" y="296"/>
                  </a:lnTo>
                  <a:lnTo>
                    <a:pt x="397" y="311"/>
                  </a:lnTo>
                  <a:lnTo>
                    <a:pt x="402" y="328"/>
                  </a:lnTo>
                  <a:lnTo>
                    <a:pt x="410" y="337"/>
                  </a:lnTo>
                  <a:lnTo>
                    <a:pt x="417" y="346"/>
                  </a:lnTo>
                  <a:lnTo>
                    <a:pt x="425" y="356"/>
                  </a:lnTo>
                  <a:lnTo>
                    <a:pt x="433" y="364"/>
                  </a:lnTo>
                  <a:lnTo>
                    <a:pt x="394" y="444"/>
                  </a:lnTo>
                  <a:lnTo>
                    <a:pt x="355" y="524"/>
                  </a:lnTo>
                  <a:lnTo>
                    <a:pt x="316" y="605"/>
                  </a:lnTo>
                  <a:lnTo>
                    <a:pt x="277" y="684"/>
                  </a:lnTo>
                  <a:lnTo>
                    <a:pt x="238" y="764"/>
                  </a:lnTo>
                  <a:lnTo>
                    <a:pt x="199" y="845"/>
                  </a:lnTo>
                  <a:lnTo>
                    <a:pt x="160" y="924"/>
                  </a:lnTo>
                  <a:lnTo>
                    <a:pt x="121" y="1004"/>
                  </a:lnTo>
                  <a:lnTo>
                    <a:pt x="111" y="996"/>
                  </a:lnTo>
                  <a:lnTo>
                    <a:pt x="101" y="989"/>
                  </a:lnTo>
                  <a:lnTo>
                    <a:pt x="87" y="989"/>
                  </a:lnTo>
                  <a:lnTo>
                    <a:pt x="76" y="991"/>
                  </a:lnTo>
                  <a:lnTo>
                    <a:pt x="70" y="992"/>
                  </a:lnTo>
                  <a:lnTo>
                    <a:pt x="65" y="994"/>
                  </a:lnTo>
                  <a:lnTo>
                    <a:pt x="61" y="996"/>
                  </a:lnTo>
                  <a:lnTo>
                    <a:pt x="57" y="1000"/>
                  </a:lnTo>
                  <a:lnTo>
                    <a:pt x="54" y="1002"/>
                  </a:lnTo>
                  <a:lnTo>
                    <a:pt x="51" y="1006"/>
                  </a:lnTo>
                  <a:lnTo>
                    <a:pt x="49" y="1011"/>
                  </a:lnTo>
                  <a:lnTo>
                    <a:pt x="46" y="1015"/>
                  </a:lnTo>
                  <a:lnTo>
                    <a:pt x="45" y="1020"/>
                  </a:lnTo>
                  <a:lnTo>
                    <a:pt x="44" y="1027"/>
                  </a:lnTo>
                  <a:lnTo>
                    <a:pt x="44" y="1033"/>
                  </a:lnTo>
                  <a:lnTo>
                    <a:pt x="44" y="1040"/>
                  </a:lnTo>
                  <a:lnTo>
                    <a:pt x="61" y="1067"/>
                  </a:lnTo>
                  <a:lnTo>
                    <a:pt x="77" y="1095"/>
                  </a:lnTo>
                  <a:lnTo>
                    <a:pt x="94" y="1123"/>
                  </a:lnTo>
                  <a:lnTo>
                    <a:pt x="111" y="1150"/>
                  </a:lnTo>
                  <a:lnTo>
                    <a:pt x="127" y="1178"/>
                  </a:lnTo>
                  <a:lnTo>
                    <a:pt x="144" y="1205"/>
                  </a:lnTo>
                  <a:lnTo>
                    <a:pt x="161" y="1233"/>
                  </a:lnTo>
                  <a:lnTo>
                    <a:pt x="177" y="1261"/>
                  </a:lnTo>
                  <a:lnTo>
                    <a:pt x="183" y="1271"/>
                  </a:lnTo>
                  <a:lnTo>
                    <a:pt x="216" y="1266"/>
                  </a:lnTo>
                  <a:lnTo>
                    <a:pt x="247" y="1262"/>
                  </a:lnTo>
                  <a:lnTo>
                    <a:pt x="280" y="1257"/>
                  </a:lnTo>
                  <a:lnTo>
                    <a:pt x="312" y="1253"/>
                  </a:lnTo>
                  <a:lnTo>
                    <a:pt x="344" y="1247"/>
                  </a:lnTo>
                  <a:lnTo>
                    <a:pt x="376" y="1243"/>
                  </a:lnTo>
                  <a:lnTo>
                    <a:pt x="409" y="1239"/>
                  </a:lnTo>
                  <a:lnTo>
                    <a:pt x="440" y="1234"/>
                  </a:lnTo>
                  <a:lnTo>
                    <a:pt x="446" y="1230"/>
                  </a:lnTo>
                  <a:lnTo>
                    <a:pt x="451" y="1226"/>
                  </a:lnTo>
                  <a:lnTo>
                    <a:pt x="455" y="1221"/>
                  </a:lnTo>
                  <a:lnTo>
                    <a:pt x="459" y="1217"/>
                  </a:lnTo>
                  <a:lnTo>
                    <a:pt x="461" y="1211"/>
                  </a:lnTo>
                  <a:lnTo>
                    <a:pt x="463" y="1207"/>
                  </a:lnTo>
                  <a:lnTo>
                    <a:pt x="464" y="1203"/>
                  </a:lnTo>
                  <a:lnTo>
                    <a:pt x="464" y="1197"/>
                  </a:lnTo>
                  <a:lnTo>
                    <a:pt x="464" y="1193"/>
                  </a:lnTo>
                  <a:lnTo>
                    <a:pt x="463" y="1188"/>
                  </a:lnTo>
                  <a:lnTo>
                    <a:pt x="461" y="1183"/>
                  </a:lnTo>
                  <a:lnTo>
                    <a:pt x="459" y="1178"/>
                  </a:lnTo>
                  <a:lnTo>
                    <a:pt x="452" y="1168"/>
                  </a:lnTo>
                  <a:lnTo>
                    <a:pt x="445" y="1157"/>
                  </a:lnTo>
                  <a:lnTo>
                    <a:pt x="431" y="1154"/>
                  </a:lnTo>
                  <a:lnTo>
                    <a:pt x="419" y="1151"/>
                  </a:lnTo>
                  <a:lnTo>
                    <a:pt x="514" y="944"/>
                  </a:lnTo>
                  <a:close/>
                  <a:moveTo>
                    <a:pt x="577" y="674"/>
                  </a:moveTo>
                  <a:lnTo>
                    <a:pt x="587" y="675"/>
                  </a:lnTo>
                  <a:lnTo>
                    <a:pt x="597" y="679"/>
                  </a:lnTo>
                  <a:lnTo>
                    <a:pt x="606" y="683"/>
                  </a:lnTo>
                  <a:lnTo>
                    <a:pt x="615" y="690"/>
                  </a:lnTo>
                  <a:lnTo>
                    <a:pt x="621" y="697"/>
                  </a:lnTo>
                  <a:lnTo>
                    <a:pt x="626" y="707"/>
                  </a:lnTo>
                  <a:lnTo>
                    <a:pt x="629" y="717"/>
                  </a:lnTo>
                  <a:lnTo>
                    <a:pt x="630" y="728"/>
                  </a:lnTo>
                  <a:lnTo>
                    <a:pt x="629" y="739"/>
                  </a:lnTo>
                  <a:lnTo>
                    <a:pt x="626" y="749"/>
                  </a:lnTo>
                  <a:lnTo>
                    <a:pt x="621" y="757"/>
                  </a:lnTo>
                  <a:lnTo>
                    <a:pt x="615" y="766"/>
                  </a:lnTo>
                  <a:lnTo>
                    <a:pt x="606" y="773"/>
                  </a:lnTo>
                  <a:lnTo>
                    <a:pt x="597" y="777"/>
                  </a:lnTo>
                  <a:lnTo>
                    <a:pt x="587" y="780"/>
                  </a:lnTo>
                  <a:lnTo>
                    <a:pt x="577" y="781"/>
                  </a:lnTo>
                  <a:lnTo>
                    <a:pt x="566" y="780"/>
                  </a:lnTo>
                  <a:lnTo>
                    <a:pt x="556" y="777"/>
                  </a:lnTo>
                  <a:lnTo>
                    <a:pt x="546" y="773"/>
                  </a:lnTo>
                  <a:lnTo>
                    <a:pt x="538" y="766"/>
                  </a:lnTo>
                  <a:lnTo>
                    <a:pt x="532" y="757"/>
                  </a:lnTo>
                  <a:lnTo>
                    <a:pt x="526" y="749"/>
                  </a:lnTo>
                  <a:lnTo>
                    <a:pt x="524" y="739"/>
                  </a:lnTo>
                  <a:lnTo>
                    <a:pt x="523" y="728"/>
                  </a:lnTo>
                  <a:lnTo>
                    <a:pt x="524" y="717"/>
                  </a:lnTo>
                  <a:lnTo>
                    <a:pt x="526" y="707"/>
                  </a:lnTo>
                  <a:lnTo>
                    <a:pt x="532" y="697"/>
                  </a:lnTo>
                  <a:lnTo>
                    <a:pt x="538" y="690"/>
                  </a:lnTo>
                  <a:lnTo>
                    <a:pt x="546" y="683"/>
                  </a:lnTo>
                  <a:lnTo>
                    <a:pt x="556" y="679"/>
                  </a:lnTo>
                  <a:lnTo>
                    <a:pt x="566" y="675"/>
                  </a:lnTo>
                  <a:lnTo>
                    <a:pt x="577" y="674"/>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69" name="Freeform 8"/>
            <p:cNvSpPr>
              <a:spLocks/>
            </p:cNvSpPr>
            <p:nvPr/>
          </p:nvSpPr>
          <p:spPr bwMode="auto">
            <a:xfrm>
              <a:off x="-2230438" y="4618038"/>
              <a:ext cx="242888" cy="26988"/>
            </a:xfrm>
            <a:custGeom>
              <a:avLst/>
              <a:gdLst>
                <a:gd name="T0" fmla="*/ 1304 w 1380"/>
                <a:gd name="T1" fmla="*/ 0 h 153"/>
                <a:gd name="T2" fmla="*/ 1319 w 1380"/>
                <a:gd name="T3" fmla="*/ 2 h 153"/>
                <a:gd name="T4" fmla="*/ 1333 w 1380"/>
                <a:gd name="T5" fmla="*/ 6 h 153"/>
                <a:gd name="T6" fmla="*/ 1347 w 1380"/>
                <a:gd name="T7" fmla="*/ 13 h 153"/>
                <a:gd name="T8" fmla="*/ 1359 w 1380"/>
                <a:gd name="T9" fmla="*/ 22 h 153"/>
                <a:gd name="T10" fmla="*/ 1367 w 1380"/>
                <a:gd name="T11" fmla="*/ 33 h 153"/>
                <a:gd name="T12" fmla="*/ 1375 w 1380"/>
                <a:gd name="T13" fmla="*/ 46 h 153"/>
                <a:gd name="T14" fmla="*/ 1379 w 1380"/>
                <a:gd name="T15" fmla="*/ 62 h 153"/>
                <a:gd name="T16" fmla="*/ 1380 w 1380"/>
                <a:gd name="T17" fmla="*/ 77 h 153"/>
                <a:gd name="T18" fmla="*/ 1380 w 1380"/>
                <a:gd name="T19" fmla="*/ 85 h 153"/>
                <a:gd name="T20" fmla="*/ 1377 w 1380"/>
                <a:gd name="T21" fmla="*/ 100 h 153"/>
                <a:gd name="T22" fmla="*/ 1372 w 1380"/>
                <a:gd name="T23" fmla="*/ 113 h 153"/>
                <a:gd name="T24" fmla="*/ 1363 w 1380"/>
                <a:gd name="T25" fmla="*/ 125 h 153"/>
                <a:gd name="T26" fmla="*/ 1353 w 1380"/>
                <a:gd name="T27" fmla="*/ 136 h 153"/>
                <a:gd name="T28" fmla="*/ 1340 w 1380"/>
                <a:gd name="T29" fmla="*/ 144 h 153"/>
                <a:gd name="T30" fmla="*/ 1327 w 1380"/>
                <a:gd name="T31" fmla="*/ 150 h 153"/>
                <a:gd name="T32" fmla="*/ 1312 w 1380"/>
                <a:gd name="T33" fmla="*/ 153 h 153"/>
                <a:gd name="T34" fmla="*/ 76 w 1380"/>
                <a:gd name="T35" fmla="*/ 153 h 153"/>
                <a:gd name="T36" fmla="*/ 61 w 1380"/>
                <a:gd name="T37" fmla="*/ 152 h 153"/>
                <a:gd name="T38" fmla="*/ 46 w 1380"/>
                <a:gd name="T39" fmla="*/ 147 h 153"/>
                <a:gd name="T40" fmla="*/ 33 w 1380"/>
                <a:gd name="T41" fmla="*/ 140 h 153"/>
                <a:gd name="T42" fmla="*/ 21 w 1380"/>
                <a:gd name="T43" fmla="*/ 131 h 153"/>
                <a:gd name="T44" fmla="*/ 13 w 1380"/>
                <a:gd name="T45" fmla="*/ 120 h 153"/>
                <a:gd name="T46" fmla="*/ 5 w 1380"/>
                <a:gd name="T47" fmla="*/ 106 h 153"/>
                <a:gd name="T48" fmla="*/ 1 w 1380"/>
                <a:gd name="T49" fmla="*/ 92 h 153"/>
                <a:gd name="T50" fmla="*/ 0 w 1380"/>
                <a:gd name="T51" fmla="*/ 77 h 153"/>
                <a:gd name="T52" fmla="*/ 0 w 1380"/>
                <a:gd name="T53" fmla="*/ 68 h 153"/>
                <a:gd name="T54" fmla="*/ 3 w 1380"/>
                <a:gd name="T55" fmla="*/ 54 h 153"/>
                <a:gd name="T56" fmla="*/ 8 w 1380"/>
                <a:gd name="T57" fmla="*/ 40 h 153"/>
                <a:gd name="T58" fmla="*/ 17 w 1380"/>
                <a:gd name="T59" fmla="*/ 28 h 153"/>
                <a:gd name="T60" fmla="*/ 27 w 1380"/>
                <a:gd name="T61" fmla="*/ 17 h 153"/>
                <a:gd name="T62" fmla="*/ 40 w 1380"/>
                <a:gd name="T63" fmla="*/ 9 h 153"/>
                <a:gd name="T64" fmla="*/ 53 w 1380"/>
                <a:gd name="T65" fmla="*/ 3 h 153"/>
                <a:gd name="T66" fmla="*/ 68 w 1380"/>
                <a:gd name="T67" fmla="*/ 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0" h="153">
                  <a:moveTo>
                    <a:pt x="76" y="0"/>
                  </a:moveTo>
                  <a:lnTo>
                    <a:pt x="1304" y="0"/>
                  </a:lnTo>
                  <a:lnTo>
                    <a:pt x="1312" y="1"/>
                  </a:lnTo>
                  <a:lnTo>
                    <a:pt x="1319" y="2"/>
                  </a:lnTo>
                  <a:lnTo>
                    <a:pt x="1327" y="3"/>
                  </a:lnTo>
                  <a:lnTo>
                    <a:pt x="1333" y="6"/>
                  </a:lnTo>
                  <a:lnTo>
                    <a:pt x="1340" y="9"/>
                  </a:lnTo>
                  <a:lnTo>
                    <a:pt x="1347" y="13"/>
                  </a:lnTo>
                  <a:lnTo>
                    <a:pt x="1353" y="17"/>
                  </a:lnTo>
                  <a:lnTo>
                    <a:pt x="1359" y="22"/>
                  </a:lnTo>
                  <a:lnTo>
                    <a:pt x="1363" y="28"/>
                  </a:lnTo>
                  <a:lnTo>
                    <a:pt x="1367" y="33"/>
                  </a:lnTo>
                  <a:lnTo>
                    <a:pt x="1372" y="40"/>
                  </a:lnTo>
                  <a:lnTo>
                    <a:pt x="1375" y="46"/>
                  </a:lnTo>
                  <a:lnTo>
                    <a:pt x="1377" y="54"/>
                  </a:lnTo>
                  <a:lnTo>
                    <a:pt x="1379" y="62"/>
                  </a:lnTo>
                  <a:lnTo>
                    <a:pt x="1380" y="68"/>
                  </a:lnTo>
                  <a:lnTo>
                    <a:pt x="1380" y="77"/>
                  </a:lnTo>
                  <a:lnTo>
                    <a:pt x="1380" y="77"/>
                  </a:lnTo>
                  <a:lnTo>
                    <a:pt x="1380" y="85"/>
                  </a:lnTo>
                  <a:lnTo>
                    <a:pt x="1379" y="92"/>
                  </a:lnTo>
                  <a:lnTo>
                    <a:pt x="1377" y="100"/>
                  </a:lnTo>
                  <a:lnTo>
                    <a:pt x="1375" y="106"/>
                  </a:lnTo>
                  <a:lnTo>
                    <a:pt x="1372" y="113"/>
                  </a:lnTo>
                  <a:lnTo>
                    <a:pt x="1367" y="120"/>
                  </a:lnTo>
                  <a:lnTo>
                    <a:pt x="1363" y="125"/>
                  </a:lnTo>
                  <a:lnTo>
                    <a:pt x="1359" y="131"/>
                  </a:lnTo>
                  <a:lnTo>
                    <a:pt x="1353" y="136"/>
                  </a:lnTo>
                  <a:lnTo>
                    <a:pt x="1347" y="140"/>
                  </a:lnTo>
                  <a:lnTo>
                    <a:pt x="1340" y="144"/>
                  </a:lnTo>
                  <a:lnTo>
                    <a:pt x="1333" y="147"/>
                  </a:lnTo>
                  <a:lnTo>
                    <a:pt x="1327" y="150"/>
                  </a:lnTo>
                  <a:lnTo>
                    <a:pt x="1319" y="152"/>
                  </a:lnTo>
                  <a:lnTo>
                    <a:pt x="1312" y="153"/>
                  </a:lnTo>
                  <a:lnTo>
                    <a:pt x="1304" y="153"/>
                  </a:lnTo>
                  <a:lnTo>
                    <a:pt x="76" y="153"/>
                  </a:lnTo>
                  <a:lnTo>
                    <a:pt x="68" y="153"/>
                  </a:lnTo>
                  <a:lnTo>
                    <a:pt x="61" y="152"/>
                  </a:lnTo>
                  <a:lnTo>
                    <a:pt x="53" y="150"/>
                  </a:lnTo>
                  <a:lnTo>
                    <a:pt x="46" y="147"/>
                  </a:lnTo>
                  <a:lnTo>
                    <a:pt x="40" y="144"/>
                  </a:lnTo>
                  <a:lnTo>
                    <a:pt x="33" y="140"/>
                  </a:lnTo>
                  <a:lnTo>
                    <a:pt x="27" y="136"/>
                  </a:lnTo>
                  <a:lnTo>
                    <a:pt x="21" y="131"/>
                  </a:lnTo>
                  <a:lnTo>
                    <a:pt x="17" y="125"/>
                  </a:lnTo>
                  <a:lnTo>
                    <a:pt x="13" y="120"/>
                  </a:lnTo>
                  <a:lnTo>
                    <a:pt x="8" y="113"/>
                  </a:lnTo>
                  <a:lnTo>
                    <a:pt x="5" y="106"/>
                  </a:lnTo>
                  <a:lnTo>
                    <a:pt x="3" y="100"/>
                  </a:lnTo>
                  <a:lnTo>
                    <a:pt x="1" y="92"/>
                  </a:lnTo>
                  <a:lnTo>
                    <a:pt x="0" y="85"/>
                  </a:lnTo>
                  <a:lnTo>
                    <a:pt x="0" y="77"/>
                  </a:lnTo>
                  <a:lnTo>
                    <a:pt x="0" y="77"/>
                  </a:lnTo>
                  <a:lnTo>
                    <a:pt x="0" y="68"/>
                  </a:lnTo>
                  <a:lnTo>
                    <a:pt x="1" y="62"/>
                  </a:lnTo>
                  <a:lnTo>
                    <a:pt x="3" y="54"/>
                  </a:lnTo>
                  <a:lnTo>
                    <a:pt x="5" y="46"/>
                  </a:lnTo>
                  <a:lnTo>
                    <a:pt x="8" y="40"/>
                  </a:lnTo>
                  <a:lnTo>
                    <a:pt x="13" y="33"/>
                  </a:lnTo>
                  <a:lnTo>
                    <a:pt x="17" y="28"/>
                  </a:lnTo>
                  <a:lnTo>
                    <a:pt x="21" y="22"/>
                  </a:lnTo>
                  <a:lnTo>
                    <a:pt x="27" y="17"/>
                  </a:lnTo>
                  <a:lnTo>
                    <a:pt x="33" y="13"/>
                  </a:lnTo>
                  <a:lnTo>
                    <a:pt x="40" y="9"/>
                  </a:lnTo>
                  <a:lnTo>
                    <a:pt x="46" y="6"/>
                  </a:lnTo>
                  <a:lnTo>
                    <a:pt x="53" y="3"/>
                  </a:lnTo>
                  <a:lnTo>
                    <a:pt x="61" y="2"/>
                  </a:lnTo>
                  <a:lnTo>
                    <a:pt x="68" y="1"/>
                  </a:lnTo>
                  <a:lnTo>
                    <a:pt x="76" y="0"/>
                  </a:ln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grpSp>
      <p:sp>
        <p:nvSpPr>
          <p:cNvPr id="70" name="Rectangle 69"/>
          <p:cNvSpPr/>
          <p:nvPr/>
        </p:nvSpPr>
        <p:spPr>
          <a:xfrm>
            <a:off x="6834977" y="1347262"/>
            <a:ext cx="2084480" cy="7428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US" sz="1000" dirty="0" smtClean="0">
                <a:solidFill>
                  <a:prstClr val="black"/>
                </a:solidFill>
                <a:latin typeface="Calibri" charset="0"/>
                <a:ea typeface="ＭＳ Ｐゴシック" charset="0"/>
                <a:cs typeface="ＭＳ Ｐゴシック" charset="0"/>
              </a:rPr>
              <a:t>Extracted DNA, RNA and/or protein sent to omics center to generate sequence, transcript or protein expression data</a:t>
            </a:r>
            <a:endParaRPr lang="en-US" sz="1000" dirty="0">
              <a:solidFill>
                <a:prstClr val="black"/>
              </a:solidFill>
              <a:latin typeface="Calibri" charset="0"/>
              <a:ea typeface="ＭＳ Ｐゴシック" charset="0"/>
              <a:cs typeface="ＭＳ Ｐゴシック" charset="0"/>
            </a:endParaRPr>
          </a:p>
        </p:txBody>
      </p:sp>
      <p:cxnSp>
        <p:nvCxnSpPr>
          <p:cNvPr id="73" name="Straight Connector 72"/>
          <p:cNvCxnSpPr/>
          <p:nvPr>
            <p:custDataLst>
              <p:tags r:id="rId4"/>
            </p:custDataLst>
          </p:nvPr>
        </p:nvCxnSpPr>
        <p:spPr>
          <a:xfrm>
            <a:off x="3302641" y="1164258"/>
            <a:ext cx="1900384" cy="0"/>
          </a:xfrm>
          <a:prstGeom prst="line">
            <a:avLst/>
          </a:prstGeom>
          <a:ln w="3175">
            <a:solidFill>
              <a:srgbClr val="2A9B18"/>
            </a:solidFill>
            <a:headEnd type="oval" w="sm" len="sm"/>
            <a:tailEnd type="oval" w="sm" len="sm"/>
          </a:ln>
          <a:effectLst/>
        </p:spPr>
        <p:style>
          <a:lnRef idx="2">
            <a:schemeClr val="accent1"/>
          </a:lnRef>
          <a:fillRef idx="0">
            <a:schemeClr val="accent1"/>
          </a:fillRef>
          <a:effectRef idx="1">
            <a:schemeClr val="accent1"/>
          </a:effectRef>
          <a:fontRef idx="minor">
            <a:schemeClr val="tx1"/>
          </a:fontRef>
        </p:style>
      </p:cxnSp>
      <p:sp>
        <p:nvSpPr>
          <p:cNvPr id="79" name="Rectangle 78"/>
          <p:cNvSpPr/>
          <p:nvPr/>
        </p:nvSpPr>
        <p:spPr>
          <a:xfrm>
            <a:off x="451787" y="1829568"/>
            <a:ext cx="2084480" cy="55106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US" sz="1000" dirty="0" smtClean="0">
                <a:solidFill>
                  <a:prstClr val="black"/>
                </a:solidFill>
                <a:latin typeface="Calibri" charset="0"/>
                <a:ea typeface="ＭＳ Ｐゴシック" charset="0"/>
                <a:cs typeface="ＭＳ Ｐゴシック" charset="0"/>
              </a:rPr>
              <a:t>Crew performs experimental protocol and collects samples.</a:t>
            </a:r>
            <a:endParaRPr lang="en-US" sz="1000" dirty="0">
              <a:solidFill>
                <a:prstClr val="black"/>
              </a:solidFill>
              <a:latin typeface="Calibri" charset="0"/>
              <a:ea typeface="ＭＳ Ｐゴシック" charset="0"/>
              <a:cs typeface="ＭＳ Ｐゴシック" charset="0"/>
            </a:endParaRPr>
          </a:p>
        </p:txBody>
      </p:sp>
      <p:grpSp>
        <p:nvGrpSpPr>
          <p:cNvPr id="43" name="Group 42"/>
          <p:cNvGrpSpPr/>
          <p:nvPr/>
        </p:nvGrpSpPr>
        <p:grpSpPr>
          <a:xfrm>
            <a:off x="-504700" y="4954013"/>
            <a:ext cx="5792834" cy="5807948"/>
            <a:chOff x="2982172" y="1924063"/>
            <a:chExt cx="2993776" cy="3001587"/>
          </a:xfrm>
          <a:effectLst>
            <a:outerShdw blurRad="101600" sx="101000" sy="101000" algn="ctr" rotWithShape="0">
              <a:prstClr val="black">
                <a:alpha val="18000"/>
              </a:prstClr>
            </a:outerShdw>
          </a:effectLst>
        </p:grpSpPr>
        <p:sp>
          <p:nvSpPr>
            <p:cNvPr id="6" name="Freeform 6"/>
            <p:cNvSpPr>
              <a:spLocks/>
            </p:cNvSpPr>
            <p:nvPr>
              <p:custDataLst>
                <p:tags r:id="rId10"/>
              </p:custDataLst>
            </p:nvPr>
          </p:nvSpPr>
          <p:spPr bwMode="auto">
            <a:xfrm>
              <a:off x="2982172" y="1929458"/>
              <a:ext cx="2990981" cy="2996192"/>
            </a:xfrm>
            <a:custGeom>
              <a:avLst/>
              <a:gdLst>
                <a:gd name="T0" fmla="*/ 1899 w 3447"/>
                <a:gd name="T1" fmla="*/ 9 h 3447"/>
                <a:gd name="T2" fmla="*/ 2154 w 3447"/>
                <a:gd name="T3" fmla="*/ 54 h 3447"/>
                <a:gd name="T4" fmla="*/ 2394 w 3447"/>
                <a:gd name="T5" fmla="*/ 136 h 3447"/>
                <a:gd name="T6" fmla="*/ 2617 w 3447"/>
                <a:gd name="T7" fmla="*/ 249 h 3447"/>
                <a:gd name="T8" fmla="*/ 2819 w 3447"/>
                <a:gd name="T9" fmla="*/ 394 h 3447"/>
                <a:gd name="T10" fmla="*/ 2999 w 3447"/>
                <a:gd name="T11" fmla="*/ 565 h 3447"/>
                <a:gd name="T12" fmla="*/ 3152 w 3447"/>
                <a:gd name="T13" fmla="*/ 761 h 3447"/>
                <a:gd name="T14" fmla="*/ 3277 w 3447"/>
                <a:gd name="T15" fmla="*/ 976 h 3447"/>
                <a:gd name="T16" fmla="*/ 3369 w 3447"/>
                <a:gd name="T17" fmla="*/ 1211 h 3447"/>
                <a:gd name="T18" fmla="*/ 3427 w 3447"/>
                <a:gd name="T19" fmla="*/ 1462 h 3447"/>
                <a:gd name="T20" fmla="*/ 3447 w 3447"/>
                <a:gd name="T21" fmla="*/ 1723 h 3447"/>
                <a:gd name="T22" fmla="*/ 3427 w 3447"/>
                <a:gd name="T23" fmla="*/ 1986 h 3447"/>
                <a:gd name="T24" fmla="*/ 3369 w 3447"/>
                <a:gd name="T25" fmla="*/ 2236 h 3447"/>
                <a:gd name="T26" fmla="*/ 3277 w 3447"/>
                <a:gd name="T27" fmla="*/ 2470 h 3447"/>
                <a:gd name="T28" fmla="*/ 3152 w 3447"/>
                <a:gd name="T29" fmla="*/ 2687 h 3447"/>
                <a:gd name="T30" fmla="*/ 2999 w 3447"/>
                <a:gd name="T31" fmla="*/ 2882 h 3447"/>
                <a:gd name="T32" fmla="*/ 2819 w 3447"/>
                <a:gd name="T33" fmla="*/ 3053 h 3447"/>
                <a:gd name="T34" fmla="*/ 2617 w 3447"/>
                <a:gd name="T35" fmla="*/ 3198 h 3447"/>
                <a:gd name="T36" fmla="*/ 2394 w 3447"/>
                <a:gd name="T37" fmla="*/ 3312 h 3447"/>
                <a:gd name="T38" fmla="*/ 2154 w 3447"/>
                <a:gd name="T39" fmla="*/ 3393 h 3447"/>
                <a:gd name="T40" fmla="*/ 1899 w 3447"/>
                <a:gd name="T41" fmla="*/ 3438 h 3447"/>
                <a:gd name="T42" fmla="*/ 1634 w 3447"/>
                <a:gd name="T43" fmla="*/ 3445 h 3447"/>
                <a:gd name="T44" fmla="*/ 1376 w 3447"/>
                <a:gd name="T45" fmla="*/ 3411 h 3447"/>
                <a:gd name="T46" fmla="*/ 1131 w 3447"/>
                <a:gd name="T47" fmla="*/ 3342 h 3447"/>
                <a:gd name="T48" fmla="*/ 902 w 3447"/>
                <a:gd name="T49" fmla="*/ 3238 h 3447"/>
                <a:gd name="T50" fmla="*/ 692 w 3447"/>
                <a:gd name="T51" fmla="*/ 3104 h 3447"/>
                <a:gd name="T52" fmla="*/ 505 w 3447"/>
                <a:gd name="T53" fmla="*/ 2942 h 3447"/>
                <a:gd name="T54" fmla="*/ 342 w 3447"/>
                <a:gd name="T55" fmla="*/ 2754 h 3447"/>
                <a:gd name="T56" fmla="*/ 208 w 3447"/>
                <a:gd name="T57" fmla="*/ 2545 h 3447"/>
                <a:gd name="T58" fmla="*/ 104 w 3447"/>
                <a:gd name="T59" fmla="*/ 2316 h 3447"/>
                <a:gd name="T60" fmla="*/ 35 w 3447"/>
                <a:gd name="T61" fmla="*/ 2071 h 3447"/>
                <a:gd name="T62" fmla="*/ 2 w 3447"/>
                <a:gd name="T63" fmla="*/ 1813 h 3447"/>
                <a:gd name="T64" fmla="*/ 9 w 3447"/>
                <a:gd name="T65" fmla="*/ 1547 h 3447"/>
                <a:gd name="T66" fmla="*/ 54 w 3447"/>
                <a:gd name="T67" fmla="*/ 1293 h 3447"/>
                <a:gd name="T68" fmla="*/ 136 w 3447"/>
                <a:gd name="T69" fmla="*/ 1053 h 3447"/>
                <a:gd name="T70" fmla="*/ 249 w 3447"/>
                <a:gd name="T71" fmla="*/ 830 h 3447"/>
                <a:gd name="T72" fmla="*/ 394 w 3447"/>
                <a:gd name="T73" fmla="*/ 628 h 3447"/>
                <a:gd name="T74" fmla="*/ 564 w 3447"/>
                <a:gd name="T75" fmla="*/ 448 h 3447"/>
                <a:gd name="T76" fmla="*/ 760 w 3447"/>
                <a:gd name="T77" fmla="*/ 294 h 3447"/>
                <a:gd name="T78" fmla="*/ 976 w 3447"/>
                <a:gd name="T79" fmla="*/ 171 h 3447"/>
                <a:gd name="T80" fmla="*/ 1211 w 3447"/>
                <a:gd name="T81" fmla="*/ 77 h 3447"/>
                <a:gd name="T82" fmla="*/ 1461 w 3447"/>
                <a:gd name="T83" fmla="*/ 20 h 3447"/>
                <a:gd name="T84" fmla="*/ 1723 w 3447"/>
                <a:gd name="T85" fmla="*/ 0 h 3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47" h="3447">
                  <a:moveTo>
                    <a:pt x="1723" y="0"/>
                  </a:moveTo>
                  <a:lnTo>
                    <a:pt x="1812" y="2"/>
                  </a:lnTo>
                  <a:lnTo>
                    <a:pt x="1899" y="9"/>
                  </a:lnTo>
                  <a:lnTo>
                    <a:pt x="1986" y="20"/>
                  </a:lnTo>
                  <a:lnTo>
                    <a:pt x="2071" y="36"/>
                  </a:lnTo>
                  <a:lnTo>
                    <a:pt x="2154" y="54"/>
                  </a:lnTo>
                  <a:lnTo>
                    <a:pt x="2235" y="77"/>
                  </a:lnTo>
                  <a:lnTo>
                    <a:pt x="2316" y="105"/>
                  </a:lnTo>
                  <a:lnTo>
                    <a:pt x="2394" y="136"/>
                  </a:lnTo>
                  <a:lnTo>
                    <a:pt x="2470" y="171"/>
                  </a:lnTo>
                  <a:lnTo>
                    <a:pt x="2545" y="208"/>
                  </a:lnTo>
                  <a:lnTo>
                    <a:pt x="2617" y="249"/>
                  </a:lnTo>
                  <a:lnTo>
                    <a:pt x="2687" y="294"/>
                  </a:lnTo>
                  <a:lnTo>
                    <a:pt x="2754" y="343"/>
                  </a:lnTo>
                  <a:lnTo>
                    <a:pt x="2819" y="394"/>
                  </a:lnTo>
                  <a:lnTo>
                    <a:pt x="2882" y="448"/>
                  </a:lnTo>
                  <a:lnTo>
                    <a:pt x="2942" y="505"/>
                  </a:lnTo>
                  <a:lnTo>
                    <a:pt x="2999" y="565"/>
                  </a:lnTo>
                  <a:lnTo>
                    <a:pt x="3053" y="628"/>
                  </a:lnTo>
                  <a:lnTo>
                    <a:pt x="3104" y="692"/>
                  </a:lnTo>
                  <a:lnTo>
                    <a:pt x="3152" y="761"/>
                  </a:lnTo>
                  <a:lnTo>
                    <a:pt x="3197" y="830"/>
                  </a:lnTo>
                  <a:lnTo>
                    <a:pt x="3238" y="902"/>
                  </a:lnTo>
                  <a:lnTo>
                    <a:pt x="3277" y="976"/>
                  </a:lnTo>
                  <a:lnTo>
                    <a:pt x="3312" y="1053"/>
                  </a:lnTo>
                  <a:lnTo>
                    <a:pt x="3342" y="1131"/>
                  </a:lnTo>
                  <a:lnTo>
                    <a:pt x="3369" y="1211"/>
                  </a:lnTo>
                  <a:lnTo>
                    <a:pt x="3392" y="1293"/>
                  </a:lnTo>
                  <a:lnTo>
                    <a:pt x="3411" y="1377"/>
                  </a:lnTo>
                  <a:lnTo>
                    <a:pt x="3427" y="1462"/>
                  </a:lnTo>
                  <a:lnTo>
                    <a:pt x="3437" y="1547"/>
                  </a:lnTo>
                  <a:lnTo>
                    <a:pt x="3445" y="1634"/>
                  </a:lnTo>
                  <a:lnTo>
                    <a:pt x="3447" y="1723"/>
                  </a:lnTo>
                  <a:lnTo>
                    <a:pt x="3445" y="1813"/>
                  </a:lnTo>
                  <a:lnTo>
                    <a:pt x="3437" y="1899"/>
                  </a:lnTo>
                  <a:lnTo>
                    <a:pt x="3427" y="1986"/>
                  </a:lnTo>
                  <a:lnTo>
                    <a:pt x="3411" y="2071"/>
                  </a:lnTo>
                  <a:lnTo>
                    <a:pt x="3392" y="2154"/>
                  </a:lnTo>
                  <a:lnTo>
                    <a:pt x="3369" y="2236"/>
                  </a:lnTo>
                  <a:lnTo>
                    <a:pt x="3342" y="2316"/>
                  </a:lnTo>
                  <a:lnTo>
                    <a:pt x="3312" y="2394"/>
                  </a:lnTo>
                  <a:lnTo>
                    <a:pt x="3277" y="2470"/>
                  </a:lnTo>
                  <a:lnTo>
                    <a:pt x="3238" y="2545"/>
                  </a:lnTo>
                  <a:lnTo>
                    <a:pt x="3197" y="2617"/>
                  </a:lnTo>
                  <a:lnTo>
                    <a:pt x="3152" y="2687"/>
                  </a:lnTo>
                  <a:lnTo>
                    <a:pt x="3104" y="2754"/>
                  </a:lnTo>
                  <a:lnTo>
                    <a:pt x="3053" y="2819"/>
                  </a:lnTo>
                  <a:lnTo>
                    <a:pt x="2999" y="2882"/>
                  </a:lnTo>
                  <a:lnTo>
                    <a:pt x="2942" y="2942"/>
                  </a:lnTo>
                  <a:lnTo>
                    <a:pt x="2882" y="3000"/>
                  </a:lnTo>
                  <a:lnTo>
                    <a:pt x="2819" y="3053"/>
                  </a:lnTo>
                  <a:lnTo>
                    <a:pt x="2754" y="3104"/>
                  </a:lnTo>
                  <a:lnTo>
                    <a:pt x="2687" y="3153"/>
                  </a:lnTo>
                  <a:lnTo>
                    <a:pt x="2617" y="3198"/>
                  </a:lnTo>
                  <a:lnTo>
                    <a:pt x="2545" y="3238"/>
                  </a:lnTo>
                  <a:lnTo>
                    <a:pt x="2470" y="3277"/>
                  </a:lnTo>
                  <a:lnTo>
                    <a:pt x="2394" y="3312"/>
                  </a:lnTo>
                  <a:lnTo>
                    <a:pt x="2316" y="3342"/>
                  </a:lnTo>
                  <a:lnTo>
                    <a:pt x="2235" y="3369"/>
                  </a:lnTo>
                  <a:lnTo>
                    <a:pt x="2154" y="3393"/>
                  </a:lnTo>
                  <a:lnTo>
                    <a:pt x="2071" y="3411"/>
                  </a:lnTo>
                  <a:lnTo>
                    <a:pt x="1986" y="3427"/>
                  </a:lnTo>
                  <a:lnTo>
                    <a:pt x="1899" y="3438"/>
                  </a:lnTo>
                  <a:lnTo>
                    <a:pt x="1812" y="3445"/>
                  </a:lnTo>
                  <a:lnTo>
                    <a:pt x="1723" y="3447"/>
                  </a:lnTo>
                  <a:lnTo>
                    <a:pt x="1634" y="3445"/>
                  </a:lnTo>
                  <a:lnTo>
                    <a:pt x="1547" y="3438"/>
                  </a:lnTo>
                  <a:lnTo>
                    <a:pt x="1461" y="3427"/>
                  </a:lnTo>
                  <a:lnTo>
                    <a:pt x="1376" y="3411"/>
                  </a:lnTo>
                  <a:lnTo>
                    <a:pt x="1292" y="3393"/>
                  </a:lnTo>
                  <a:lnTo>
                    <a:pt x="1211" y="3369"/>
                  </a:lnTo>
                  <a:lnTo>
                    <a:pt x="1131" y="3342"/>
                  </a:lnTo>
                  <a:lnTo>
                    <a:pt x="1053" y="3312"/>
                  </a:lnTo>
                  <a:lnTo>
                    <a:pt x="976" y="3277"/>
                  </a:lnTo>
                  <a:lnTo>
                    <a:pt x="902" y="3238"/>
                  </a:lnTo>
                  <a:lnTo>
                    <a:pt x="829" y="3198"/>
                  </a:lnTo>
                  <a:lnTo>
                    <a:pt x="760" y="3153"/>
                  </a:lnTo>
                  <a:lnTo>
                    <a:pt x="692" y="3104"/>
                  </a:lnTo>
                  <a:lnTo>
                    <a:pt x="627" y="3053"/>
                  </a:lnTo>
                  <a:lnTo>
                    <a:pt x="564" y="3000"/>
                  </a:lnTo>
                  <a:lnTo>
                    <a:pt x="505" y="2942"/>
                  </a:lnTo>
                  <a:lnTo>
                    <a:pt x="448" y="2882"/>
                  </a:lnTo>
                  <a:lnTo>
                    <a:pt x="394" y="2819"/>
                  </a:lnTo>
                  <a:lnTo>
                    <a:pt x="342" y="2754"/>
                  </a:lnTo>
                  <a:lnTo>
                    <a:pt x="294" y="2687"/>
                  </a:lnTo>
                  <a:lnTo>
                    <a:pt x="249" y="2617"/>
                  </a:lnTo>
                  <a:lnTo>
                    <a:pt x="208" y="2545"/>
                  </a:lnTo>
                  <a:lnTo>
                    <a:pt x="169" y="2470"/>
                  </a:lnTo>
                  <a:lnTo>
                    <a:pt x="136" y="2394"/>
                  </a:lnTo>
                  <a:lnTo>
                    <a:pt x="104" y="2316"/>
                  </a:lnTo>
                  <a:lnTo>
                    <a:pt x="77" y="2236"/>
                  </a:lnTo>
                  <a:lnTo>
                    <a:pt x="54" y="2154"/>
                  </a:lnTo>
                  <a:lnTo>
                    <a:pt x="35" y="2071"/>
                  </a:lnTo>
                  <a:lnTo>
                    <a:pt x="19" y="1986"/>
                  </a:lnTo>
                  <a:lnTo>
                    <a:pt x="9" y="1899"/>
                  </a:lnTo>
                  <a:lnTo>
                    <a:pt x="2" y="1813"/>
                  </a:lnTo>
                  <a:lnTo>
                    <a:pt x="0" y="1723"/>
                  </a:lnTo>
                  <a:lnTo>
                    <a:pt x="2" y="1634"/>
                  </a:lnTo>
                  <a:lnTo>
                    <a:pt x="9" y="1547"/>
                  </a:lnTo>
                  <a:lnTo>
                    <a:pt x="19" y="1462"/>
                  </a:lnTo>
                  <a:lnTo>
                    <a:pt x="35" y="1377"/>
                  </a:lnTo>
                  <a:lnTo>
                    <a:pt x="54" y="1293"/>
                  </a:lnTo>
                  <a:lnTo>
                    <a:pt x="77" y="1211"/>
                  </a:lnTo>
                  <a:lnTo>
                    <a:pt x="104" y="1131"/>
                  </a:lnTo>
                  <a:lnTo>
                    <a:pt x="136" y="1053"/>
                  </a:lnTo>
                  <a:lnTo>
                    <a:pt x="169" y="976"/>
                  </a:lnTo>
                  <a:lnTo>
                    <a:pt x="208" y="902"/>
                  </a:lnTo>
                  <a:lnTo>
                    <a:pt x="249" y="830"/>
                  </a:lnTo>
                  <a:lnTo>
                    <a:pt x="294" y="761"/>
                  </a:lnTo>
                  <a:lnTo>
                    <a:pt x="342" y="692"/>
                  </a:lnTo>
                  <a:lnTo>
                    <a:pt x="394" y="628"/>
                  </a:lnTo>
                  <a:lnTo>
                    <a:pt x="448" y="565"/>
                  </a:lnTo>
                  <a:lnTo>
                    <a:pt x="505" y="505"/>
                  </a:lnTo>
                  <a:lnTo>
                    <a:pt x="564" y="448"/>
                  </a:lnTo>
                  <a:lnTo>
                    <a:pt x="627" y="394"/>
                  </a:lnTo>
                  <a:lnTo>
                    <a:pt x="692" y="343"/>
                  </a:lnTo>
                  <a:lnTo>
                    <a:pt x="760" y="294"/>
                  </a:lnTo>
                  <a:lnTo>
                    <a:pt x="829" y="249"/>
                  </a:lnTo>
                  <a:lnTo>
                    <a:pt x="902" y="208"/>
                  </a:lnTo>
                  <a:lnTo>
                    <a:pt x="976" y="171"/>
                  </a:lnTo>
                  <a:lnTo>
                    <a:pt x="1053" y="136"/>
                  </a:lnTo>
                  <a:lnTo>
                    <a:pt x="1131" y="105"/>
                  </a:lnTo>
                  <a:lnTo>
                    <a:pt x="1211" y="77"/>
                  </a:lnTo>
                  <a:lnTo>
                    <a:pt x="1292" y="54"/>
                  </a:lnTo>
                  <a:lnTo>
                    <a:pt x="1376" y="36"/>
                  </a:lnTo>
                  <a:lnTo>
                    <a:pt x="1461" y="20"/>
                  </a:lnTo>
                  <a:lnTo>
                    <a:pt x="1547" y="9"/>
                  </a:lnTo>
                  <a:lnTo>
                    <a:pt x="1634" y="2"/>
                  </a:lnTo>
                  <a:lnTo>
                    <a:pt x="1723" y="0"/>
                  </a:lnTo>
                  <a:close/>
                </a:path>
              </a:pathLst>
            </a:custGeom>
            <a:gradFill flip="none" rotWithShape="1">
              <a:gsLst>
                <a:gs pos="0">
                  <a:schemeClr val="bg1"/>
                </a:gs>
                <a:gs pos="87000">
                  <a:schemeClr val="bg1">
                    <a:lumMod val="75000"/>
                  </a:schemeClr>
                </a:gs>
                <a:gs pos="52000">
                  <a:schemeClr val="bg1">
                    <a:lumMod val="85000"/>
                  </a:schemeClr>
                </a:gs>
              </a:gsLst>
              <a:path path="circle">
                <a:fillToRect l="50000" t="50000" r="50000" b="50000"/>
              </a:path>
              <a:tileRect/>
            </a:gradFill>
            <a:ln w="9525">
              <a:noFill/>
              <a:round/>
              <a:headEnd/>
              <a:tailEnd/>
            </a:ln>
            <a:effectLst>
              <a:innerShdw blurRad="165100" dist="139700" dir="5400000">
                <a:prstClr val="black">
                  <a:alpha val="12000"/>
                </a:prstClr>
              </a:innerShdw>
            </a:effectLst>
          </p:spPr>
          <p:txBody>
            <a:bodyPr anchor="ctr"/>
            <a:lstStyle/>
            <a:p>
              <a:pPr algn="ctr"/>
              <a:endParaRPr lang="en-US" dirty="0">
                <a:solidFill>
                  <a:srgbClr val="FFFFFF"/>
                </a:solidFill>
                <a:latin typeface="Calibri" charset="0"/>
                <a:ea typeface="ＭＳ Ｐゴシック" charset="-128"/>
              </a:endParaRPr>
            </a:p>
          </p:txBody>
        </p:sp>
        <p:sp>
          <p:nvSpPr>
            <p:cNvPr id="42" name="Freeform 14"/>
            <p:cNvSpPr>
              <a:spLocks noEditPoints="1"/>
            </p:cNvSpPr>
            <p:nvPr>
              <p:custDataLst>
                <p:tags r:id="rId11"/>
              </p:custDataLst>
            </p:nvPr>
          </p:nvSpPr>
          <p:spPr bwMode="auto">
            <a:xfrm>
              <a:off x="2986002" y="1924063"/>
              <a:ext cx="2989946" cy="2989946"/>
            </a:xfrm>
            <a:custGeom>
              <a:avLst/>
              <a:gdLst>
                <a:gd name="T0" fmla="*/ 2511 w 2815"/>
                <a:gd name="T1" fmla="*/ 2234 h 2815"/>
                <a:gd name="T2" fmla="*/ 2654 w 2815"/>
                <a:gd name="T3" fmla="*/ 1402 h 2815"/>
                <a:gd name="T4" fmla="*/ 2286 w 2815"/>
                <a:gd name="T5" fmla="*/ 832 h 2815"/>
                <a:gd name="T6" fmla="*/ 1815 w 2815"/>
                <a:gd name="T7" fmla="*/ 592 h 2815"/>
                <a:gd name="T8" fmla="*/ 1124 w 2815"/>
                <a:gd name="T9" fmla="*/ 318 h 2815"/>
                <a:gd name="T10" fmla="*/ 453 w 2815"/>
                <a:gd name="T11" fmla="*/ 510 h 2815"/>
                <a:gd name="T12" fmla="*/ 75 w 2815"/>
                <a:gd name="T13" fmla="*/ 1061 h 2815"/>
                <a:gd name="T14" fmla="*/ 411 w 2815"/>
                <a:gd name="T15" fmla="*/ 454 h 2815"/>
                <a:gd name="T16" fmla="*/ 1292 w 2815"/>
                <a:gd name="T17" fmla="*/ 303 h 2815"/>
                <a:gd name="T18" fmla="*/ 2133 w 2815"/>
                <a:gd name="T19" fmla="*/ 663 h 2815"/>
                <a:gd name="T20" fmla="*/ 2604 w 2815"/>
                <a:gd name="T21" fmla="*/ 887 h 2815"/>
                <a:gd name="T22" fmla="*/ 2629 w 2815"/>
                <a:gd name="T23" fmla="*/ 924 h 2815"/>
                <a:gd name="T24" fmla="*/ 2430 w 2815"/>
                <a:gd name="T25" fmla="*/ 2304 h 2815"/>
                <a:gd name="T26" fmla="*/ 2408 w 2815"/>
                <a:gd name="T27" fmla="*/ 1822 h 2815"/>
                <a:gd name="T28" fmla="*/ 2271 w 2815"/>
                <a:gd name="T29" fmla="*/ 1433 h 2815"/>
                <a:gd name="T30" fmla="*/ 2060 w 2815"/>
                <a:gd name="T31" fmla="*/ 1326 h 2815"/>
                <a:gd name="T32" fmla="*/ 1753 w 2815"/>
                <a:gd name="T33" fmla="*/ 576 h 2815"/>
                <a:gd name="T34" fmla="*/ 991 w 2815"/>
                <a:gd name="T35" fmla="*/ 209 h 2815"/>
                <a:gd name="T36" fmla="*/ 2053 w 2815"/>
                <a:gd name="T37" fmla="*/ 2625 h 2815"/>
                <a:gd name="T38" fmla="*/ 1839 w 2815"/>
                <a:gd name="T39" fmla="*/ 2551 h 2815"/>
                <a:gd name="T40" fmla="*/ 1856 w 2815"/>
                <a:gd name="T41" fmla="*/ 2377 h 2815"/>
                <a:gd name="T42" fmla="*/ 2102 w 2815"/>
                <a:gd name="T43" fmla="*/ 1958 h 2815"/>
                <a:gd name="T44" fmla="*/ 1806 w 2815"/>
                <a:gd name="T45" fmla="*/ 841 h 2815"/>
                <a:gd name="T46" fmla="*/ 946 w 2815"/>
                <a:gd name="T47" fmla="*/ 116 h 2815"/>
                <a:gd name="T48" fmla="*/ 1173 w 2815"/>
                <a:gd name="T49" fmla="*/ 157 h 2815"/>
                <a:gd name="T50" fmla="*/ 813 w 2815"/>
                <a:gd name="T51" fmla="*/ 2683 h 2815"/>
                <a:gd name="T52" fmla="*/ 29 w 2815"/>
                <a:gd name="T53" fmla="*/ 1125 h 2815"/>
                <a:gd name="T54" fmla="*/ 1056 w 2815"/>
                <a:gd name="T55" fmla="*/ 45 h 2815"/>
                <a:gd name="T56" fmla="*/ 2493 w 2815"/>
                <a:gd name="T57" fmla="*/ 513 h 2815"/>
                <a:gd name="T58" fmla="*/ 2675 w 2815"/>
                <a:gd name="T59" fmla="*/ 2017 h 2815"/>
                <a:gd name="T60" fmla="*/ 1724 w 2815"/>
                <a:gd name="T61" fmla="*/ 2750 h 2815"/>
                <a:gd name="T62" fmla="*/ 1473 w 2815"/>
                <a:gd name="T63" fmla="*/ 2113 h 2815"/>
                <a:gd name="T64" fmla="*/ 1682 w 2815"/>
                <a:gd name="T65" fmla="*/ 1188 h 2815"/>
                <a:gd name="T66" fmla="*/ 1341 w 2815"/>
                <a:gd name="T67" fmla="*/ 33 h 2815"/>
                <a:gd name="T68" fmla="*/ 2143 w 2815"/>
                <a:gd name="T69" fmla="*/ 484 h 2815"/>
                <a:gd name="T70" fmla="*/ 659 w 2815"/>
                <a:gd name="T71" fmla="*/ 680 h 2815"/>
                <a:gd name="T72" fmla="*/ 445 w 2815"/>
                <a:gd name="T73" fmla="*/ 878 h 2815"/>
                <a:gd name="T74" fmla="*/ 36 w 2815"/>
                <a:gd name="T75" fmla="*/ 1313 h 2815"/>
                <a:gd name="T76" fmla="*/ 1803 w 2815"/>
                <a:gd name="T77" fmla="*/ 322 h 2815"/>
                <a:gd name="T78" fmla="*/ 2678 w 2815"/>
                <a:gd name="T79" fmla="*/ 951 h 2815"/>
                <a:gd name="T80" fmla="*/ 1826 w 2815"/>
                <a:gd name="T81" fmla="*/ 252 h 2815"/>
                <a:gd name="T82" fmla="*/ 2480 w 2815"/>
                <a:gd name="T83" fmla="*/ 540 h 2815"/>
                <a:gd name="T84" fmla="*/ 1300 w 2815"/>
                <a:gd name="T85" fmla="*/ 378 h 2815"/>
                <a:gd name="T86" fmla="*/ 318 w 2815"/>
                <a:gd name="T87" fmla="*/ 1083 h 2815"/>
                <a:gd name="T88" fmla="*/ 305 w 2815"/>
                <a:gd name="T89" fmla="*/ 1673 h 2815"/>
                <a:gd name="T90" fmla="*/ 278 w 2815"/>
                <a:gd name="T91" fmla="*/ 1812 h 2815"/>
                <a:gd name="T92" fmla="*/ 1984 w 2815"/>
                <a:gd name="T93" fmla="*/ 171 h 2815"/>
                <a:gd name="T94" fmla="*/ 1513 w 2815"/>
                <a:gd name="T95" fmla="*/ 278 h 2815"/>
                <a:gd name="T96" fmla="*/ 822 w 2815"/>
                <a:gd name="T97" fmla="*/ 804 h 2815"/>
                <a:gd name="T98" fmla="*/ 737 w 2815"/>
                <a:gd name="T99" fmla="*/ 1379 h 2815"/>
                <a:gd name="T100" fmla="*/ 687 w 2815"/>
                <a:gd name="T101" fmla="*/ 1539 h 2815"/>
                <a:gd name="T102" fmla="*/ 439 w 2815"/>
                <a:gd name="T103" fmla="*/ 1843 h 2815"/>
                <a:gd name="T104" fmla="*/ 1778 w 2815"/>
                <a:gd name="T105" fmla="*/ 84 h 2815"/>
                <a:gd name="T106" fmla="*/ 1563 w 2815"/>
                <a:gd name="T107" fmla="*/ 131 h 2815"/>
                <a:gd name="T108" fmla="*/ 1061 w 2815"/>
                <a:gd name="T109" fmla="*/ 1105 h 2815"/>
                <a:gd name="T110" fmla="*/ 1025 w 2815"/>
                <a:gd name="T111" fmla="*/ 1122 h 2815"/>
                <a:gd name="T112" fmla="*/ 623 w 2815"/>
                <a:gd name="T113" fmla="*/ 2043 h 2815"/>
                <a:gd name="T114" fmla="*/ 687 w 2815"/>
                <a:gd name="T115" fmla="*/ 2537 h 2815"/>
                <a:gd name="T116" fmla="*/ 976 w 2815"/>
                <a:gd name="T117" fmla="*/ 2672 h 2815"/>
                <a:gd name="T118" fmla="*/ 1361 w 2815"/>
                <a:gd name="T119" fmla="*/ 466 h 2815"/>
                <a:gd name="T120" fmla="*/ 1050 w 2815"/>
                <a:gd name="T121" fmla="*/ 1598 h 2815"/>
                <a:gd name="T122" fmla="*/ 988 w 2815"/>
                <a:gd name="T123" fmla="*/ 2150 h 2815"/>
                <a:gd name="T124" fmla="*/ 1341 w 2815"/>
                <a:gd name="T125" fmla="*/ 2479 h 2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15" h="2815">
                  <a:moveTo>
                    <a:pt x="1421" y="1150"/>
                  </a:moveTo>
                  <a:lnTo>
                    <a:pt x="1453" y="1150"/>
                  </a:lnTo>
                  <a:lnTo>
                    <a:pt x="1484" y="1148"/>
                  </a:lnTo>
                  <a:lnTo>
                    <a:pt x="1517" y="1146"/>
                  </a:lnTo>
                  <a:lnTo>
                    <a:pt x="1548" y="1143"/>
                  </a:lnTo>
                  <a:lnTo>
                    <a:pt x="1578" y="1140"/>
                  </a:lnTo>
                  <a:lnTo>
                    <a:pt x="1608" y="1135"/>
                  </a:lnTo>
                  <a:lnTo>
                    <a:pt x="1637" y="1130"/>
                  </a:lnTo>
                  <a:lnTo>
                    <a:pt x="1667" y="1125"/>
                  </a:lnTo>
                  <a:lnTo>
                    <a:pt x="1655" y="1074"/>
                  </a:lnTo>
                  <a:lnTo>
                    <a:pt x="1641" y="1022"/>
                  </a:lnTo>
                  <a:lnTo>
                    <a:pt x="1627" y="972"/>
                  </a:lnTo>
                  <a:lnTo>
                    <a:pt x="1613" y="922"/>
                  </a:lnTo>
                  <a:lnTo>
                    <a:pt x="1598" y="872"/>
                  </a:lnTo>
                  <a:lnTo>
                    <a:pt x="1584" y="824"/>
                  </a:lnTo>
                  <a:lnTo>
                    <a:pt x="1570" y="777"/>
                  </a:lnTo>
                  <a:lnTo>
                    <a:pt x="1553" y="729"/>
                  </a:lnTo>
                  <a:lnTo>
                    <a:pt x="1521" y="736"/>
                  </a:lnTo>
                  <a:lnTo>
                    <a:pt x="1489" y="741"/>
                  </a:lnTo>
                  <a:lnTo>
                    <a:pt x="1455" y="743"/>
                  </a:lnTo>
                  <a:lnTo>
                    <a:pt x="1421" y="745"/>
                  </a:lnTo>
                  <a:lnTo>
                    <a:pt x="1421" y="1150"/>
                  </a:lnTo>
                  <a:close/>
                  <a:moveTo>
                    <a:pt x="2574" y="2144"/>
                  </a:moveTo>
                  <a:lnTo>
                    <a:pt x="2587" y="2122"/>
                  </a:lnTo>
                  <a:lnTo>
                    <a:pt x="2598" y="2100"/>
                  </a:lnTo>
                  <a:lnTo>
                    <a:pt x="2610" y="2077"/>
                  </a:lnTo>
                  <a:lnTo>
                    <a:pt x="2621" y="2055"/>
                  </a:lnTo>
                  <a:lnTo>
                    <a:pt x="2630" y="2032"/>
                  </a:lnTo>
                  <a:lnTo>
                    <a:pt x="2640" y="2011"/>
                  </a:lnTo>
                  <a:lnTo>
                    <a:pt x="2649" y="1987"/>
                  </a:lnTo>
                  <a:lnTo>
                    <a:pt x="2657" y="1966"/>
                  </a:lnTo>
                  <a:lnTo>
                    <a:pt x="2628" y="2001"/>
                  </a:lnTo>
                  <a:lnTo>
                    <a:pt x="2598" y="2036"/>
                  </a:lnTo>
                  <a:lnTo>
                    <a:pt x="2566" y="2069"/>
                  </a:lnTo>
                  <a:lnTo>
                    <a:pt x="2531" y="2102"/>
                  </a:lnTo>
                  <a:lnTo>
                    <a:pt x="2527" y="2125"/>
                  </a:lnTo>
                  <a:lnTo>
                    <a:pt x="2522" y="2146"/>
                  </a:lnTo>
                  <a:lnTo>
                    <a:pt x="2516" y="2169"/>
                  </a:lnTo>
                  <a:lnTo>
                    <a:pt x="2510" y="2191"/>
                  </a:lnTo>
                  <a:lnTo>
                    <a:pt x="2503" y="2212"/>
                  </a:lnTo>
                  <a:lnTo>
                    <a:pt x="2495" y="2234"/>
                  </a:lnTo>
                  <a:lnTo>
                    <a:pt x="2485" y="2255"/>
                  </a:lnTo>
                  <a:lnTo>
                    <a:pt x="2476" y="2275"/>
                  </a:lnTo>
                  <a:lnTo>
                    <a:pt x="2488" y="2262"/>
                  </a:lnTo>
                  <a:lnTo>
                    <a:pt x="2499" y="2248"/>
                  </a:lnTo>
                  <a:lnTo>
                    <a:pt x="2511" y="2234"/>
                  </a:lnTo>
                  <a:lnTo>
                    <a:pt x="2521" y="2220"/>
                  </a:lnTo>
                  <a:lnTo>
                    <a:pt x="2521" y="2221"/>
                  </a:lnTo>
                  <a:lnTo>
                    <a:pt x="2535" y="2202"/>
                  </a:lnTo>
                  <a:lnTo>
                    <a:pt x="2549" y="2183"/>
                  </a:lnTo>
                  <a:lnTo>
                    <a:pt x="2561" y="2164"/>
                  </a:lnTo>
                  <a:lnTo>
                    <a:pt x="2574" y="2144"/>
                  </a:lnTo>
                  <a:close/>
                  <a:moveTo>
                    <a:pt x="2680" y="1881"/>
                  </a:moveTo>
                  <a:lnTo>
                    <a:pt x="2685" y="1860"/>
                  </a:lnTo>
                  <a:lnTo>
                    <a:pt x="2688" y="1837"/>
                  </a:lnTo>
                  <a:lnTo>
                    <a:pt x="2692" y="1815"/>
                  </a:lnTo>
                  <a:lnTo>
                    <a:pt x="2695" y="1793"/>
                  </a:lnTo>
                  <a:lnTo>
                    <a:pt x="2697" y="1770"/>
                  </a:lnTo>
                  <a:lnTo>
                    <a:pt x="2698" y="1748"/>
                  </a:lnTo>
                  <a:lnTo>
                    <a:pt x="2700" y="1726"/>
                  </a:lnTo>
                  <a:lnTo>
                    <a:pt x="2701" y="1703"/>
                  </a:lnTo>
                  <a:lnTo>
                    <a:pt x="2700" y="1659"/>
                  </a:lnTo>
                  <a:lnTo>
                    <a:pt x="2697" y="1614"/>
                  </a:lnTo>
                  <a:lnTo>
                    <a:pt x="2692" y="1570"/>
                  </a:lnTo>
                  <a:lnTo>
                    <a:pt x="2685" y="1525"/>
                  </a:lnTo>
                  <a:lnTo>
                    <a:pt x="2669" y="1552"/>
                  </a:lnTo>
                  <a:lnTo>
                    <a:pt x="2651" y="1578"/>
                  </a:lnTo>
                  <a:lnTo>
                    <a:pt x="2632" y="1605"/>
                  </a:lnTo>
                  <a:lnTo>
                    <a:pt x="2612" y="1630"/>
                  </a:lnTo>
                  <a:lnTo>
                    <a:pt x="2591" y="1656"/>
                  </a:lnTo>
                  <a:lnTo>
                    <a:pt x="2569" y="1680"/>
                  </a:lnTo>
                  <a:lnTo>
                    <a:pt x="2546" y="1704"/>
                  </a:lnTo>
                  <a:lnTo>
                    <a:pt x="2522" y="1727"/>
                  </a:lnTo>
                  <a:lnTo>
                    <a:pt x="2530" y="1770"/>
                  </a:lnTo>
                  <a:lnTo>
                    <a:pt x="2536" y="1812"/>
                  </a:lnTo>
                  <a:lnTo>
                    <a:pt x="2541" y="1855"/>
                  </a:lnTo>
                  <a:lnTo>
                    <a:pt x="2544" y="1896"/>
                  </a:lnTo>
                  <a:lnTo>
                    <a:pt x="2545" y="1938"/>
                  </a:lnTo>
                  <a:lnTo>
                    <a:pt x="2544" y="1978"/>
                  </a:lnTo>
                  <a:lnTo>
                    <a:pt x="2543" y="2019"/>
                  </a:lnTo>
                  <a:lnTo>
                    <a:pt x="2538" y="2058"/>
                  </a:lnTo>
                  <a:lnTo>
                    <a:pt x="2559" y="2037"/>
                  </a:lnTo>
                  <a:lnTo>
                    <a:pt x="2579" y="2016"/>
                  </a:lnTo>
                  <a:lnTo>
                    <a:pt x="2598" y="1994"/>
                  </a:lnTo>
                  <a:lnTo>
                    <a:pt x="2617" y="1972"/>
                  </a:lnTo>
                  <a:lnTo>
                    <a:pt x="2634" y="1951"/>
                  </a:lnTo>
                  <a:lnTo>
                    <a:pt x="2650" y="1928"/>
                  </a:lnTo>
                  <a:lnTo>
                    <a:pt x="2665" y="1905"/>
                  </a:lnTo>
                  <a:lnTo>
                    <a:pt x="2680" y="1881"/>
                  </a:lnTo>
                  <a:close/>
                  <a:moveTo>
                    <a:pt x="2677" y="1485"/>
                  </a:moveTo>
                  <a:lnTo>
                    <a:pt x="2666" y="1444"/>
                  </a:lnTo>
                  <a:lnTo>
                    <a:pt x="2654" y="1402"/>
                  </a:lnTo>
                  <a:lnTo>
                    <a:pt x="2640" y="1362"/>
                  </a:lnTo>
                  <a:lnTo>
                    <a:pt x="2625" y="1322"/>
                  </a:lnTo>
                  <a:lnTo>
                    <a:pt x="2607" y="1281"/>
                  </a:lnTo>
                  <a:lnTo>
                    <a:pt x="2589" y="1242"/>
                  </a:lnTo>
                  <a:lnTo>
                    <a:pt x="2568" y="1203"/>
                  </a:lnTo>
                  <a:lnTo>
                    <a:pt x="2548" y="1164"/>
                  </a:lnTo>
                  <a:lnTo>
                    <a:pt x="2531" y="1188"/>
                  </a:lnTo>
                  <a:lnTo>
                    <a:pt x="2515" y="1211"/>
                  </a:lnTo>
                  <a:lnTo>
                    <a:pt x="2497" y="1235"/>
                  </a:lnTo>
                  <a:lnTo>
                    <a:pt x="2478" y="1257"/>
                  </a:lnTo>
                  <a:lnTo>
                    <a:pt x="2458" y="1280"/>
                  </a:lnTo>
                  <a:lnTo>
                    <a:pt x="2437" y="1302"/>
                  </a:lnTo>
                  <a:lnTo>
                    <a:pt x="2414" y="1323"/>
                  </a:lnTo>
                  <a:lnTo>
                    <a:pt x="2391" y="1343"/>
                  </a:lnTo>
                  <a:lnTo>
                    <a:pt x="2410" y="1386"/>
                  </a:lnTo>
                  <a:lnTo>
                    <a:pt x="2429" y="1430"/>
                  </a:lnTo>
                  <a:lnTo>
                    <a:pt x="2446" y="1472"/>
                  </a:lnTo>
                  <a:lnTo>
                    <a:pt x="2462" y="1515"/>
                  </a:lnTo>
                  <a:lnTo>
                    <a:pt x="2470" y="1538"/>
                  </a:lnTo>
                  <a:lnTo>
                    <a:pt x="2478" y="1560"/>
                  </a:lnTo>
                  <a:lnTo>
                    <a:pt x="2485" y="1583"/>
                  </a:lnTo>
                  <a:lnTo>
                    <a:pt x="2492" y="1606"/>
                  </a:lnTo>
                  <a:lnTo>
                    <a:pt x="2498" y="1628"/>
                  </a:lnTo>
                  <a:lnTo>
                    <a:pt x="2505" y="1651"/>
                  </a:lnTo>
                  <a:lnTo>
                    <a:pt x="2511" y="1673"/>
                  </a:lnTo>
                  <a:lnTo>
                    <a:pt x="2515" y="1696"/>
                  </a:lnTo>
                  <a:lnTo>
                    <a:pt x="2539" y="1672"/>
                  </a:lnTo>
                  <a:lnTo>
                    <a:pt x="2563" y="1646"/>
                  </a:lnTo>
                  <a:lnTo>
                    <a:pt x="2586" y="1621"/>
                  </a:lnTo>
                  <a:lnTo>
                    <a:pt x="2606" y="1595"/>
                  </a:lnTo>
                  <a:lnTo>
                    <a:pt x="2625" y="1568"/>
                  </a:lnTo>
                  <a:lnTo>
                    <a:pt x="2643" y="1540"/>
                  </a:lnTo>
                  <a:lnTo>
                    <a:pt x="2660" y="1513"/>
                  </a:lnTo>
                  <a:lnTo>
                    <a:pt x="2677" y="1485"/>
                  </a:lnTo>
                  <a:close/>
                  <a:moveTo>
                    <a:pt x="2531" y="1137"/>
                  </a:moveTo>
                  <a:lnTo>
                    <a:pt x="2523" y="1123"/>
                  </a:lnTo>
                  <a:lnTo>
                    <a:pt x="2514" y="1110"/>
                  </a:lnTo>
                  <a:lnTo>
                    <a:pt x="2506" y="1096"/>
                  </a:lnTo>
                  <a:lnTo>
                    <a:pt x="2497" y="1083"/>
                  </a:lnTo>
                  <a:lnTo>
                    <a:pt x="2470" y="1045"/>
                  </a:lnTo>
                  <a:lnTo>
                    <a:pt x="2443" y="1008"/>
                  </a:lnTo>
                  <a:lnTo>
                    <a:pt x="2414" y="971"/>
                  </a:lnTo>
                  <a:lnTo>
                    <a:pt x="2384" y="936"/>
                  </a:lnTo>
                  <a:lnTo>
                    <a:pt x="2353" y="900"/>
                  </a:lnTo>
                  <a:lnTo>
                    <a:pt x="2321" y="865"/>
                  </a:lnTo>
                  <a:lnTo>
                    <a:pt x="2286" y="832"/>
                  </a:lnTo>
                  <a:lnTo>
                    <a:pt x="2251" y="798"/>
                  </a:lnTo>
                  <a:lnTo>
                    <a:pt x="2241" y="817"/>
                  </a:lnTo>
                  <a:lnTo>
                    <a:pt x="2228" y="834"/>
                  </a:lnTo>
                  <a:lnTo>
                    <a:pt x="2216" y="853"/>
                  </a:lnTo>
                  <a:lnTo>
                    <a:pt x="2202" y="870"/>
                  </a:lnTo>
                  <a:lnTo>
                    <a:pt x="2187" y="886"/>
                  </a:lnTo>
                  <a:lnTo>
                    <a:pt x="2172" y="903"/>
                  </a:lnTo>
                  <a:lnTo>
                    <a:pt x="2156" y="919"/>
                  </a:lnTo>
                  <a:lnTo>
                    <a:pt x="2139" y="936"/>
                  </a:lnTo>
                  <a:lnTo>
                    <a:pt x="2173" y="982"/>
                  </a:lnTo>
                  <a:lnTo>
                    <a:pt x="2207" y="1028"/>
                  </a:lnTo>
                  <a:lnTo>
                    <a:pt x="2239" y="1075"/>
                  </a:lnTo>
                  <a:lnTo>
                    <a:pt x="2269" y="1123"/>
                  </a:lnTo>
                  <a:lnTo>
                    <a:pt x="2299" y="1172"/>
                  </a:lnTo>
                  <a:lnTo>
                    <a:pt x="2326" y="1220"/>
                  </a:lnTo>
                  <a:lnTo>
                    <a:pt x="2354" y="1269"/>
                  </a:lnTo>
                  <a:lnTo>
                    <a:pt x="2378" y="1318"/>
                  </a:lnTo>
                  <a:lnTo>
                    <a:pt x="2401" y="1297"/>
                  </a:lnTo>
                  <a:lnTo>
                    <a:pt x="2424" y="1275"/>
                  </a:lnTo>
                  <a:lnTo>
                    <a:pt x="2445" y="1254"/>
                  </a:lnTo>
                  <a:lnTo>
                    <a:pt x="2465" y="1232"/>
                  </a:lnTo>
                  <a:lnTo>
                    <a:pt x="2483" y="1209"/>
                  </a:lnTo>
                  <a:lnTo>
                    <a:pt x="2500" y="1184"/>
                  </a:lnTo>
                  <a:lnTo>
                    <a:pt x="2516" y="1161"/>
                  </a:lnTo>
                  <a:lnTo>
                    <a:pt x="2531" y="1137"/>
                  </a:lnTo>
                  <a:close/>
                  <a:moveTo>
                    <a:pt x="2231" y="779"/>
                  </a:moveTo>
                  <a:lnTo>
                    <a:pt x="2209" y="760"/>
                  </a:lnTo>
                  <a:lnTo>
                    <a:pt x="2187" y="741"/>
                  </a:lnTo>
                  <a:lnTo>
                    <a:pt x="2164" y="722"/>
                  </a:lnTo>
                  <a:lnTo>
                    <a:pt x="2142" y="704"/>
                  </a:lnTo>
                  <a:lnTo>
                    <a:pt x="2118" y="686"/>
                  </a:lnTo>
                  <a:lnTo>
                    <a:pt x="2095" y="668"/>
                  </a:lnTo>
                  <a:lnTo>
                    <a:pt x="2071" y="650"/>
                  </a:lnTo>
                  <a:lnTo>
                    <a:pt x="2046" y="634"/>
                  </a:lnTo>
                  <a:lnTo>
                    <a:pt x="2025" y="619"/>
                  </a:lnTo>
                  <a:lnTo>
                    <a:pt x="2003" y="604"/>
                  </a:lnTo>
                  <a:lnTo>
                    <a:pt x="1980" y="589"/>
                  </a:lnTo>
                  <a:lnTo>
                    <a:pt x="1957" y="575"/>
                  </a:lnTo>
                  <a:lnTo>
                    <a:pt x="1935" y="561"/>
                  </a:lnTo>
                  <a:lnTo>
                    <a:pt x="1910" y="547"/>
                  </a:lnTo>
                  <a:lnTo>
                    <a:pt x="1887" y="535"/>
                  </a:lnTo>
                  <a:lnTo>
                    <a:pt x="1864" y="522"/>
                  </a:lnTo>
                  <a:lnTo>
                    <a:pt x="1854" y="540"/>
                  </a:lnTo>
                  <a:lnTo>
                    <a:pt x="1843" y="558"/>
                  </a:lnTo>
                  <a:lnTo>
                    <a:pt x="1830" y="575"/>
                  </a:lnTo>
                  <a:lnTo>
                    <a:pt x="1815" y="592"/>
                  </a:lnTo>
                  <a:lnTo>
                    <a:pt x="1856" y="629"/>
                  </a:lnTo>
                  <a:lnTo>
                    <a:pt x="1897" y="666"/>
                  </a:lnTo>
                  <a:lnTo>
                    <a:pt x="1936" y="705"/>
                  </a:lnTo>
                  <a:lnTo>
                    <a:pt x="1975" y="745"/>
                  </a:lnTo>
                  <a:lnTo>
                    <a:pt x="2013" y="786"/>
                  </a:lnTo>
                  <a:lnTo>
                    <a:pt x="2050" y="827"/>
                  </a:lnTo>
                  <a:lnTo>
                    <a:pt x="2087" y="870"/>
                  </a:lnTo>
                  <a:lnTo>
                    <a:pt x="2121" y="914"/>
                  </a:lnTo>
                  <a:lnTo>
                    <a:pt x="2139" y="898"/>
                  </a:lnTo>
                  <a:lnTo>
                    <a:pt x="2154" y="883"/>
                  </a:lnTo>
                  <a:lnTo>
                    <a:pt x="2169" y="865"/>
                  </a:lnTo>
                  <a:lnTo>
                    <a:pt x="2184" y="849"/>
                  </a:lnTo>
                  <a:lnTo>
                    <a:pt x="2196" y="832"/>
                  </a:lnTo>
                  <a:lnTo>
                    <a:pt x="2209" y="815"/>
                  </a:lnTo>
                  <a:lnTo>
                    <a:pt x="2220" y="797"/>
                  </a:lnTo>
                  <a:lnTo>
                    <a:pt x="2231" y="779"/>
                  </a:lnTo>
                  <a:close/>
                  <a:moveTo>
                    <a:pt x="1840" y="508"/>
                  </a:moveTo>
                  <a:lnTo>
                    <a:pt x="1801" y="489"/>
                  </a:lnTo>
                  <a:lnTo>
                    <a:pt x="1761" y="470"/>
                  </a:lnTo>
                  <a:lnTo>
                    <a:pt x="1720" y="452"/>
                  </a:lnTo>
                  <a:lnTo>
                    <a:pt x="1680" y="436"/>
                  </a:lnTo>
                  <a:lnTo>
                    <a:pt x="1640" y="419"/>
                  </a:lnTo>
                  <a:lnTo>
                    <a:pt x="1598" y="404"/>
                  </a:lnTo>
                  <a:lnTo>
                    <a:pt x="1557" y="391"/>
                  </a:lnTo>
                  <a:lnTo>
                    <a:pt x="1515" y="378"/>
                  </a:lnTo>
                  <a:lnTo>
                    <a:pt x="1540" y="393"/>
                  </a:lnTo>
                  <a:lnTo>
                    <a:pt x="1564" y="407"/>
                  </a:lnTo>
                  <a:lnTo>
                    <a:pt x="1587" y="422"/>
                  </a:lnTo>
                  <a:lnTo>
                    <a:pt x="1611" y="437"/>
                  </a:lnTo>
                  <a:lnTo>
                    <a:pt x="1634" y="453"/>
                  </a:lnTo>
                  <a:lnTo>
                    <a:pt x="1657" y="469"/>
                  </a:lnTo>
                  <a:lnTo>
                    <a:pt x="1681" y="486"/>
                  </a:lnTo>
                  <a:lnTo>
                    <a:pt x="1703" y="502"/>
                  </a:lnTo>
                  <a:lnTo>
                    <a:pt x="1726" y="520"/>
                  </a:lnTo>
                  <a:lnTo>
                    <a:pt x="1749" y="538"/>
                  </a:lnTo>
                  <a:lnTo>
                    <a:pt x="1771" y="555"/>
                  </a:lnTo>
                  <a:lnTo>
                    <a:pt x="1794" y="575"/>
                  </a:lnTo>
                  <a:lnTo>
                    <a:pt x="1808" y="559"/>
                  </a:lnTo>
                  <a:lnTo>
                    <a:pt x="1819" y="543"/>
                  </a:lnTo>
                  <a:lnTo>
                    <a:pt x="1831" y="525"/>
                  </a:lnTo>
                  <a:lnTo>
                    <a:pt x="1840" y="508"/>
                  </a:lnTo>
                  <a:close/>
                  <a:moveTo>
                    <a:pt x="1276" y="328"/>
                  </a:moveTo>
                  <a:lnTo>
                    <a:pt x="1238" y="325"/>
                  </a:lnTo>
                  <a:lnTo>
                    <a:pt x="1200" y="322"/>
                  </a:lnTo>
                  <a:lnTo>
                    <a:pt x="1162" y="319"/>
                  </a:lnTo>
                  <a:lnTo>
                    <a:pt x="1124" y="318"/>
                  </a:lnTo>
                  <a:lnTo>
                    <a:pt x="1087" y="318"/>
                  </a:lnTo>
                  <a:lnTo>
                    <a:pt x="1049" y="319"/>
                  </a:lnTo>
                  <a:lnTo>
                    <a:pt x="1011" y="322"/>
                  </a:lnTo>
                  <a:lnTo>
                    <a:pt x="974" y="325"/>
                  </a:lnTo>
                  <a:lnTo>
                    <a:pt x="967" y="339"/>
                  </a:lnTo>
                  <a:lnTo>
                    <a:pt x="962" y="353"/>
                  </a:lnTo>
                  <a:lnTo>
                    <a:pt x="959" y="366"/>
                  </a:lnTo>
                  <a:lnTo>
                    <a:pt x="955" y="381"/>
                  </a:lnTo>
                  <a:lnTo>
                    <a:pt x="994" y="372"/>
                  </a:lnTo>
                  <a:lnTo>
                    <a:pt x="1033" y="363"/>
                  </a:lnTo>
                  <a:lnTo>
                    <a:pt x="1072" y="355"/>
                  </a:lnTo>
                  <a:lnTo>
                    <a:pt x="1112" y="348"/>
                  </a:lnTo>
                  <a:lnTo>
                    <a:pt x="1152" y="342"/>
                  </a:lnTo>
                  <a:lnTo>
                    <a:pt x="1193" y="336"/>
                  </a:lnTo>
                  <a:lnTo>
                    <a:pt x="1234" y="333"/>
                  </a:lnTo>
                  <a:lnTo>
                    <a:pt x="1276" y="328"/>
                  </a:lnTo>
                  <a:close/>
                  <a:moveTo>
                    <a:pt x="942" y="328"/>
                  </a:moveTo>
                  <a:lnTo>
                    <a:pt x="893" y="335"/>
                  </a:lnTo>
                  <a:lnTo>
                    <a:pt x="845" y="345"/>
                  </a:lnTo>
                  <a:lnTo>
                    <a:pt x="797" y="356"/>
                  </a:lnTo>
                  <a:lnTo>
                    <a:pt x="748" y="370"/>
                  </a:lnTo>
                  <a:lnTo>
                    <a:pt x="701" y="386"/>
                  </a:lnTo>
                  <a:lnTo>
                    <a:pt x="655" y="403"/>
                  </a:lnTo>
                  <a:lnTo>
                    <a:pt x="608" y="423"/>
                  </a:lnTo>
                  <a:lnTo>
                    <a:pt x="563" y="446"/>
                  </a:lnTo>
                  <a:lnTo>
                    <a:pt x="552" y="474"/>
                  </a:lnTo>
                  <a:lnTo>
                    <a:pt x="543" y="501"/>
                  </a:lnTo>
                  <a:lnTo>
                    <a:pt x="541" y="516"/>
                  </a:lnTo>
                  <a:lnTo>
                    <a:pt x="537" y="530"/>
                  </a:lnTo>
                  <a:lnTo>
                    <a:pt x="535" y="545"/>
                  </a:lnTo>
                  <a:lnTo>
                    <a:pt x="534" y="559"/>
                  </a:lnTo>
                  <a:lnTo>
                    <a:pt x="579" y="532"/>
                  </a:lnTo>
                  <a:lnTo>
                    <a:pt x="624" y="508"/>
                  </a:lnTo>
                  <a:lnTo>
                    <a:pt x="671" y="484"/>
                  </a:lnTo>
                  <a:lnTo>
                    <a:pt x="720" y="462"/>
                  </a:lnTo>
                  <a:lnTo>
                    <a:pt x="770" y="441"/>
                  </a:lnTo>
                  <a:lnTo>
                    <a:pt x="821" y="423"/>
                  </a:lnTo>
                  <a:lnTo>
                    <a:pt x="874" y="406"/>
                  </a:lnTo>
                  <a:lnTo>
                    <a:pt x="927" y="389"/>
                  </a:lnTo>
                  <a:lnTo>
                    <a:pt x="929" y="373"/>
                  </a:lnTo>
                  <a:lnTo>
                    <a:pt x="932" y="358"/>
                  </a:lnTo>
                  <a:lnTo>
                    <a:pt x="937" y="343"/>
                  </a:lnTo>
                  <a:lnTo>
                    <a:pt x="942" y="328"/>
                  </a:lnTo>
                  <a:close/>
                  <a:moveTo>
                    <a:pt x="526" y="466"/>
                  </a:moveTo>
                  <a:lnTo>
                    <a:pt x="489" y="487"/>
                  </a:lnTo>
                  <a:lnTo>
                    <a:pt x="453" y="510"/>
                  </a:lnTo>
                  <a:lnTo>
                    <a:pt x="419" y="535"/>
                  </a:lnTo>
                  <a:lnTo>
                    <a:pt x="383" y="561"/>
                  </a:lnTo>
                  <a:lnTo>
                    <a:pt x="350" y="589"/>
                  </a:lnTo>
                  <a:lnTo>
                    <a:pt x="316" y="619"/>
                  </a:lnTo>
                  <a:lnTo>
                    <a:pt x="283" y="650"/>
                  </a:lnTo>
                  <a:lnTo>
                    <a:pt x="250" y="683"/>
                  </a:lnTo>
                  <a:lnTo>
                    <a:pt x="248" y="689"/>
                  </a:lnTo>
                  <a:lnTo>
                    <a:pt x="246" y="696"/>
                  </a:lnTo>
                  <a:lnTo>
                    <a:pt x="239" y="713"/>
                  </a:lnTo>
                  <a:lnTo>
                    <a:pt x="233" y="731"/>
                  </a:lnTo>
                  <a:lnTo>
                    <a:pt x="227" y="749"/>
                  </a:lnTo>
                  <a:lnTo>
                    <a:pt x="223" y="767"/>
                  </a:lnTo>
                  <a:lnTo>
                    <a:pt x="219" y="786"/>
                  </a:lnTo>
                  <a:lnTo>
                    <a:pt x="216" y="804"/>
                  </a:lnTo>
                  <a:lnTo>
                    <a:pt x="214" y="823"/>
                  </a:lnTo>
                  <a:lnTo>
                    <a:pt x="212" y="841"/>
                  </a:lnTo>
                  <a:lnTo>
                    <a:pt x="233" y="815"/>
                  </a:lnTo>
                  <a:lnTo>
                    <a:pt x="256" y="788"/>
                  </a:lnTo>
                  <a:lnTo>
                    <a:pt x="280" y="763"/>
                  </a:lnTo>
                  <a:lnTo>
                    <a:pt x="305" y="737"/>
                  </a:lnTo>
                  <a:lnTo>
                    <a:pt x="330" y="713"/>
                  </a:lnTo>
                  <a:lnTo>
                    <a:pt x="356" y="689"/>
                  </a:lnTo>
                  <a:lnTo>
                    <a:pt x="383" y="666"/>
                  </a:lnTo>
                  <a:lnTo>
                    <a:pt x="412" y="644"/>
                  </a:lnTo>
                  <a:lnTo>
                    <a:pt x="434" y="627"/>
                  </a:lnTo>
                  <a:lnTo>
                    <a:pt x="458" y="610"/>
                  </a:lnTo>
                  <a:lnTo>
                    <a:pt x="481" y="593"/>
                  </a:lnTo>
                  <a:lnTo>
                    <a:pt x="505" y="577"/>
                  </a:lnTo>
                  <a:lnTo>
                    <a:pt x="507" y="548"/>
                  </a:lnTo>
                  <a:lnTo>
                    <a:pt x="512" y="521"/>
                  </a:lnTo>
                  <a:lnTo>
                    <a:pt x="518" y="493"/>
                  </a:lnTo>
                  <a:lnTo>
                    <a:pt x="526" y="466"/>
                  </a:lnTo>
                  <a:close/>
                  <a:moveTo>
                    <a:pt x="203" y="737"/>
                  </a:moveTo>
                  <a:lnTo>
                    <a:pt x="200" y="741"/>
                  </a:lnTo>
                  <a:lnTo>
                    <a:pt x="181" y="774"/>
                  </a:lnTo>
                  <a:lnTo>
                    <a:pt x="165" y="807"/>
                  </a:lnTo>
                  <a:lnTo>
                    <a:pt x="149" y="841"/>
                  </a:lnTo>
                  <a:lnTo>
                    <a:pt x="134" y="875"/>
                  </a:lnTo>
                  <a:lnTo>
                    <a:pt x="120" y="909"/>
                  </a:lnTo>
                  <a:lnTo>
                    <a:pt x="108" y="945"/>
                  </a:lnTo>
                  <a:lnTo>
                    <a:pt x="95" y="981"/>
                  </a:lnTo>
                  <a:lnTo>
                    <a:pt x="85" y="1016"/>
                  </a:lnTo>
                  <a:lnTo>
                    <a:pt x="87" y="1016"/>
                  </a:lnTo>
                  <a:lnTo>
                    <a:pt x="82" y="1031"/>
                  </a:lnTo>
                  <a:lnTo>
                    <a:pt x="79" y="1046"/>
                  </a:lnTo>
                  <a:lnTo>
                    <a:pt x="75" y="1061"/>
                  </a:lnTo>
                  <a:lnTo>
                    <a:pt x="73" y="1076"/>
                  </a:lnTo>
                  <a:lnTo>
                    <a:pt x="83" y="1050"/>
                  </a:lnTo>
                  <a:lnTo>
                    <a:pt x="96" y="1024"/>
                  </a:lnTo>
                  <a:lnTo>
                    <a:pt x="109" y="1000"/>
                  </a:lnTo>
                  <a:lnTo>
                    <a:pt x="123" y="975"/>
                  </a:lnTo>
                  <a:lnTo>
                    <a:pt x="136" y="951"/>
                  </a:lnTo>
                  <a:lnTo>
                    <a:pt x="151" y="926"/>
                  </a:lnTo>
                  <a:lnTo>
                    <a:pt x="166" y="902"/>
                  </a:lnTo>
                  <a:lnTo>
                    <a:pt x="184" y="879"/>
                  </a:lnTo>
                  <a:lnTo>
                    <a:pt x="184" y="878"/>
                  </a:lnTo>
                  <a:lnTo>
                    <a:pt x="184" y="878"/>
                  </a:lnTo>
                  <a:lnTo>
                    <a:pt x="184" y="860"/>
                  </a:lnTo>
                  <a:lnTo>
                    <a:pt x="185" y="841"/>
                  </a:lnTo>
                  <a:lnTo>
                    <a:pt x="186" y="824"/>
                  </a:lnTo>
                  <a:lnTo>
                    <a:pt x="188" y="807"/>
                  </a:lnTo>
                  <a:lnTo>
                    <a:pt x="191" y="789"/>
                  </a:lnTo>
                  <a:lnTo>
                    <a:pt x="194" y="771"/>
                  </a:lnTo>
                  <a:lnTo>
                    <a:pt x="199" y="754"/>
                  </a:lnTo>
                  <a:lnTo>
                    <a:pt x="203" y="737"/>
                  </a:lnTo>
                  <a:close/>
                  <a:moveTo>
                    <a:pt x="292" y="604"/>
                  </a:moveTo>
                  <a:lnTo>
                    <a:pt x="322" y="576"/>
                  </a:lnTo>
                  <a:lnTo>
                    <a:pt x="352" y="551"/>
                  </a:lnTo>
                  <a:lnTo>
                    <a:pt x="383" y="528"/>
                  </a:lnTo>
                  <a:lnTo>
                    <a:pt x="414" y="505"/>
                  </a:lnTo>
                  <a:lnTo>
                    <a:pt x="445" y="483"/>
                  </a:lnTo>
                  <a:lnTo>
                    <a:pt x="476" y="463"/>
                  </a:lnTo>
                  <a:lnTo>
                    <a:pt x="509" y="444"/>
                  </a:lnTo>
                  <a:lnTo>
                    <a:pt x="541" y="425"/>
                  </a:lnTo>
                  <a:lnTo>
                    <a:pt x="549" y="409"/>
                  </a:lnTo>
                  <a:lnTo>
                    <a:pt x="558" y="393"/>
                  </a:lnTo>
                  <a:lnTo>
                    <a:pt x="567" y="377"/>
                  </a:lnTo>
                  <a:lnTo>
                    <a:pt x="578" y="361"/>
                  </a:lnTo>
                  <a:lnTo>
                    <a:pt x="588" y="345"/>
                  </a:lnTo>
                  <a:lnTo>
                    <a:pt x="600" y="330"/>
                  </a:lnTo>
                  <a:lnTo>
                    <a:pt x="612" y="313"/>
                  </a:lnTo>
                  <a:lnTo>
                    <a:pt x="625" y="298"/>
                  </a:lnTo>
                  <a:lnTo>
                    <a:pt x="595" y="312"/>
                  </a:lnTo>
                  <a:lnTo>
                    <a:pt x="566" y="327"/>
                  </a:lnTo>
                  <a:lnTo>
                    <a:pt x="537" y="343"/>
                  </a:lnTo>
                  <a:lnTo>
                    <a:pt x="509" y="361"/>
                  </a:lnTo>
                  <a:lnTo>
                    <a:pt x="509" y="361"/>
                  </a:lnTo>
                  <a:lnTo>
                    <a:pt x="489" y="378"/>
                  </a:lnTo>
                  <a:lnTo>
                    <a:pt x="469" y="396"/>
                  </a:lnTo>
                  <a:lnTo>
                    <a:pt x="451" y="414"/>
                  </a:lnTo>
                  <a:lnTo>
                    <a:pt x="431" y="432"/>
                  </a:lnTo>
                  <a:lnTo>
                    <a:pt x="411" y="454"/>
                  </a:lnTo>
                  <a:lnTo>
                    <a:pt x="390" y="477"/>
                  </a:lnTo>
                  <a:lnTo>
                    <a:pt x="369" y="500"/>
                  </a:lnTo>
                  <a:lnTo>
                    <a:pt x="348" y="523"/>
                  </a:lnTo>
                  <a:lnTo>
                    <a:pt x="350" y="524"/>
                  </a:lnTo>
                  <a:lnTo>
                    <a:pt x="335" y="544"/>
                  </a:lnTo>
                  <a:lnTo>
                    <a:pt x="320" y="563"/>
                  </a:lnTo>
                  <a:lnTo>
                    <a:pt x="306" y="583"/>
                  </a:lnTo>
                  <a:lnTo>
                    <a:pt x="292" y="604"/>
                  </a:lnTo>
                  <a:close/>
                  <a:moveTo>
                    <a:pt x="582" y="406"/>
                  </a:moveTo>
                  <a:lnTo>
                    <a:pt x="627" y="385"/>
                  </a:lnTo>
                  <a:lnTo>
                    <a:pt x="673" y="366"/>
                  </a:lnTo>
                  <a:lnTo>
                    <a:pt x="719" y="350"/>
                  </a:lnTo>
                  <a:lnTo>
                    <a:pt x="765" y="336"/>
                  </a:lnTo>
                  <a:lnTo>
                    <a:pt x="813" y="324"/>
                  </a:lnTo>
                  <a:lnTo>
                    <a:pt x="860" y="313"/>
                  </a:lnTo>
                  <a:lnTo>
                    <a:pt x="908" y="305"/>
                  </a:lnTo>
                  <a:lnTo>
                    <a:pt x="957" y="298"/>
                  </a:lnTo>
                  <a:lnTo>
                    <a:pt x="966" y="282"/>
                  </a:lnTo>
                  <a:lnTo>
                    <a:pt x="976" y="267"/>
                  </a:lnTo>
                  <a:lnTo>
                    <a:pt x="989" y="252"/>
                  </a:lnTo>
                  <a:lnTo>
                    <a:pt x="1002" y="237"/>
                  </a:lnTo>
                  <a:lnTo>
                    <a:pt x="961" y="235"/>
                  </a:lnTo>
                  <a:lnTo>
                    <a:pt x="921" y="235"/>
                  </a:lnTo>
                  <a:lnTo>
                    <a:pt x="882" y="237"/>
                  </a:lnTo>
                  <a:lnTo>
                    <a:pt x="841" y="241"/>
                  </a:lnTo>
                  <a:lnTo>
                    <a:pt x="802" y="247"/>
                  </a:lnTo>
                  <a:lnTo>
                    <a:pt x="763" y="254"/>
                  </a:lnTo>
                  <a:lnTo>
                    <a:pt x="724" y="264"/>
                  </a:lnTo>
                  <a:lnTo>
                    <a:pt x="686" y="275"/>
                  </a:lnTo>
                  <a:lnTo>
                    <a:pt x="670" y="290"/>
                  </a:lnTo>
                  <a:lnTo>
                    <a:pt x="655" y="307"/>
                  </a:lnTo>
                  <a:lnTo>
                    <a:pt x="641" y="322"/>
                  </a:lnTo>
                  <a:lnTo>
                    <a:pt x="627" y="338"/>
                  </a:lnTo>
                  <a:lnTo>
                    <a:pt x="614" y="354"/>
                  </a:lnTo>
                  <a:lnTo>
                    <a:pt x="603" y="371"/>
                  </a:lnTo>
                  <a:lnTo>
                    <a:pt x="593" y="388"/>
                  </a:lnTo>
                  <a:lnTo>
                    <a:pt x="582" y="406"/>
                  </a:lnTo>
                  <a:close/>
                  <a:moveTo>
                    <a:pt x="990" y="295"/>
                  </a:moveTo>
                  <a:lnTo>
                    <a:pt x="1028" y="293"/>
                  </a:lnTo>
                  <a:lnTo>
                    <a:pt x="1065" y="292"/>
                  </a:lnTo>
                  <a:lnTo>
                    <a:pt x="1103" y="290"/>
                  </a:lnTo>
                  <a:lnTo>
                    <a:pt x="1141" y="292"/>
                  </a:lnTo>
                  <a:lnTo>
                    <a:pt x="1179" y="293"/>
                  </a:lnTo>
                  <a:lnTo>
                    <a:pt x="1217" y="295"/>
                  </a:lnTo>
                  <a:lnTo>
                    <a:pt x="1255" y="298"/>
                  </a:lnTo>
                  <a:lnTo>
                    <a:pt x="1292" y="303"/>
                  </a:lnTo>
                  <a:lnTo>
                    <a:pt x="1261" y="293"/>
                  </a:lnTo>
                  <a:lnTo>
                    <a:pt x="1229" y="281"/>
                  </a:lnTo>
                  <a:lnTo>
                    <a:pt x="1196" y="272"/>
                  </a:lnTo>
                  <a:lnTo>
                    <a:pt x="1165" y="264"/>
                  </a:lnTo>
                  <a:lnTo>
                    <a:pt x="1133" y="257"/>
                  </a:lnTo>
                  <a:lnTo>
                    <a:pt x="1101" y="250"/>
                  </a:lnTo>
                  <a:lnTo>
                    <a:pt x="1068" y="244"/>
                  </a:lnTo>
                  <a:lnTo>
                    <a:pt x="1037" y="241"/>
                  </a:lnTo>
                  <a:lnTo>
                    <a:pt x="1023" y="254"/>
                  </a:lnTo>
                  <a:lnTo>
                    <a:pt x="1012" y="267"/>
                  </a:lnTo>
                  <a:lnTo>
                    <a:pt x="1000" y="281"/>
                  </a:lnTo>
                  <a:lnTo>
                    <a:pt x="990" y="295"/>
                  </a:lnTo>
                  <a:close/>
                  <a:moveTo>
                    <a:pt x="1536" y="356"/>
                  </a:moveTo>
                  <a:lnTo>
                    <a:pt x="1576" y="369"/>
                  </a:lnTo>
                  <a:lnTo>
                    <a:pt x="1617" y="383"/>
                  </a:lnTo>
                  <a:lnTo>
                    <a:pt x="1656" y="396"/>
                  </a:lnTo>
                  <a:lnTo>
                    <a:pt x="1696" y="413"/>
                  </a:lnTo>
                  <a:lnTo>
                    <a:pt x="1735" y="429"/>
                  </a:lnTo>
                  <a:lnTo>
                    <a:pt x="1773" y="446"/>
                  </a:lnTo>
                  <a:lnTo>
                    <a:pt x="1813" y="464"/>
                  </a:lnTo>
                  <a:lnTo>
                    <a:pt x="1851" y="484"/>
                  </a:lnTo>
                  <a:lnTo>
                    <a:pt x="1855" y="467"/>
                  </a:lnTo>
                  <a:lnTo>
                    <a:pt x="1859" y="451"/>
                  </a:lnTo>
                  <a:lnTo>
                    <a:pt x="1861" y="433"/>
                  </a:lnTo>
                  <a:lnTo>
                    <a:pt x="1862" y="416"/>
                  </a:lnTo>
                  <a:lnTo>
                    <a:pt x="1862" y="410"/>
                  </a:lnTo>
                  <a:lnTo>
                    <a:pt x="1823" y="401"/>
                  </a:lnTo>
                  <a:lnTo>
                    <a:pt x="1784" y="392"/>
                  </a:lnTo>
                  <a:lnTo>
                    <a:pt x="1743" y="384"/>
                  </a:lnTo>
                  <a:lnTo>
                    <a:pt x="1703" y="376"/>
                  </a:lnTo>
                  <a:lnTo>
                    <a:pt x="1662" y="370"/>
                  </a:lnTo>
                  <a:lnTo>
                    <a:pt x="1620" y="364"/>
                  </a:lnTo>
                  <a:lnTo>
                    <a:pt x="1579" y="360"/>
                  </a:lnTo>
                  <a:lnTo>
                    <a:pt x="1536" y="356"/>
                  </a:lnTo>
                  <a:close/>
                  <a:moveTo>
                    <a:pt x="1875" y="497"/>
                  </a:moveTo>
                  <a:lnTo>
                    <a:pt x="1899" y="509"/>
                  </a:lnTo>
                  <a:lnTo>
                    <a:pt x="1923" y="523"/>
                  </a:lnTo>
                  <a:lnTo>
                    <a:pt x="1947" y="537"/>
                  </a:lnTo>
                  <a:lnTo>
                    <a:pt x="1970" y="551"/>
                  </a:lnTo>
                  <a:lnTo>
                    <a:pt x="1993" y="566"/>
                  </a:lnTo>
                  <a:lnTo>
                    <a:pt x="2016" y="581"/>
                  </a:lnTo>
                  <a:lnTo>
                    <a:pt x="2040" y="596"/>
                  </a:lnTo>
                  <a:lnTo>
                    <a:pt x="2063" y="611"/>
                  </a:lnTo>
                  <a:lnTo>
                    <a:pt x="2086" y="628"/>
                  </a:lnTo>
                  <a:lnTo>
                    <a:pt x="2110" y="645"/>
                  </a:lnTo>
                  <a:lnTo>
                    <a:pt x="2133" y="663"/>
                  </a:lnTo>
                  <a:lnTo>
                    <a:pt x="2156" y="680"/>
                  </a:lnTo>
                  <a:lnTo>
                    <a:pt x="2178" y="698"/>
                  </a:lnTo>
                  <a:lnTo>
                    <a:pt x="2201" y="717"/>
                  </a:lnTo>
                  <a:lnTo>
                    <a:pt x="2223" y="735"/>
                  </a:lnTo>
                  <a:lnTo>
                    <a:pt x="2245" y="755"/>
                  </a:lnTo>
                  <a:lnTo>
                    <a:pt x="2253" y="735"/>
                  </a:lnTo>
                  <a:lnTo>
                    <a:pt x="2261" y="716"/>
                  </a:lnTo>
                  <a:lnTo>
                    <a:pt x="2266" y="695"/>
                  </a:lnTo>
                  <a:lnTo>
                    <a:pt x="2272" y="675"/>
                  </a:lnTo>
                  <a:lnTo>
                    <a:pt x="2277" y="654"/>
                  </a:lnTo>
                  <a:lnTo>
                    <a:pt x="2280" y="634"/>
                  </a:lnTo>
                  <a:lnTo>
                    <a:pt x="2281" y="613"/>
                  </a:lnTo>
                  <a:lnTo>
                    <a:pt x="2283" y="592"/>
                  </a:lnTo>
                  <a:lnTo>
                    <a:pt x="2238" y="565"/>
                  </a:lnTo>
                  <a:lnTo>
                    <a:pt x="2193" y="539"/>
                  </a:lnTo>
                  <a:lnTo>
                    <a:pt x="2146" y="515"/>
                  </a:lnTo>
                  <a:lnTo>
                    <a:pt x="2097" y="493"/>
                  </a:lnTo>
                  <a:lnTo>
                    <a:pt x="2046" y="471"/>
                  </a:lnTo>
                  <a:lnTo>
                    <a:pt x="1996" y="452"/>
                  </a:lnTo>
                  <a:lnTo>
                    <a:pt x="1943" y="434"/>
                  </a:lnTo>
                  <a:lnTo>
                    <a:pt x="1890" y="418"/>
                  </a:lnTo>
                  <a:lnTo>
                    <a:pt x="1889" y="438"/>
                  </a:lnTo>
                  <a:lnTo>
                    <a:pt x="1885" y="457"/>
                  </a:lnTo>
                  <a:lnTo>
                    <a:pt x="1881" y="477"/>
                  </a:lnTo>
                  <a:lnTo>
                    <a:pt x="1875" y="497"/>
                  </a:lnTo>
                  <a:close/>
                  <a:moveTo>
                    <a:pt x="2265" y="773"/>
                  </a:moveTo>
                  <a:lnTo>
                    <a:pt x="2301" y="808"/>
                  </a:lnTo>
                  <a:lnTo>
                    <a:pt x="2337" y="842"/>
                  </a:lnTo>
                  <a:lnTo>
                    <a:pt x="2370" y="878"/>
                  </a:lnTo>
                  <a:lnTo>
                    <a:pt x="2402" y="915"/>
                  </a:lnTo>
                  <a:lnTo>
                    <a:pt x="2434" y="952"/>
                  </a:lnTo>
                  <a:lnTo>
                    <a:pt x="2463" y="990"/>
                  </a:lnTo>
                  <a:lnTo>
                    <a:pt x="2492" y="1029"/>
                  </a:lnTo>
                  <a:lnTo>
                    <a:pt x="2520" y="1068"/>
                  </a:lnTo>
                  <a:lnTo>
                    <a:pt x="2527" y="1078"/>
                  </a:lnTo>
                  <a:lnTo>
                    <a:pt x="2533" y="1089"/>
                  </a:lnTo>
                  <a:lnTo>
                    <a:pt x="2539" y="1099"/>
                  </a:lnTo>
                  <a:lnTo>
                    <a:pt x="2546" y="1110"/>
                  </a:lnTo>
                  <a:lnTo>
                    <a:pt x="2559" y="1083"/>
                  </a:lnTo>
                  <a:lnTo>
                    <a:pt x="2571" y="1057"/>
                  </a:lnTo>
                  <a:lnTo>
                    <a:pt x="2580" y="1029"/>
                  </a:lnTo>
                  <a:lnTo>
                    <a:pt x="2588" y="1001"/>
                  </a:lnTo>
                  <a:lnTo>
                    <a:pt x="2595" y="974"/>
                  </a:lnTo>
                  <a:lnTo>
                    <a:pt x="2599" y="945"/>
                  </a:lnTo>
                  <a:lnTo>
                    <a:pt x="2603" y="916"/>
                  </a:lnTo>
                  <a:lnTo>
                    <a:pt x="2604" y="887"/>
                  </a:lnTo>
                  <a:lnTo>
                    <a:pt x="2581" y="857"/>
                  </a:lnTo>
                  <a:lnTo>
                    <a:pt x="2557" y="827"/>
                  </a:lnTo>
                  <a:lnTo>
                    <a:pt x="2531" y="798"/>
                  </a:lnTo>
                  <a:lnTo>
                    <a:pt x="2505" y="771"/>
                  </a:lnTo>
                  <a:lnTo>
                    <a:pt x="2476" y="743"/>
                  </a:lnTo>
                  <a:lnTo>
                    <a:pt x="2447" y="717"/>
                  </a:lnTo>
                  <a:lnTo>
                    <a:pt x="2417" y="690"/>
                  </a:lnTo>
                  <a:lnTo>
                    <a:pt x="2386" y="665"/>
                  </a:lnTo>
                  <a:lnTo>
                    <a:pt x="2368" y="651"/>
                  </a:lnTo>
                  <a:lnTo>
                    <a:pt x="2348" y="637"/>
                  </a:lnTo>
                  <a:lnTo>
                    <a:pt x="2329" y="623"/>
                  </a:lnTo>
                  <a:lnTo>
                    <a:pt x="2309" y="610"/>
                  </a:lnTo>
                  <a:lnTo>
                    <a:pt x="2308" y="630"/>
                  </a:lnTo>
                  <a:lnTo>
                    <a:pt x="2304" y="652"/>
                  </a:lnTo>
                  <a:lnTo>
                    <a:pt x="2301" y="673"/>
                  </a:lnTo>
                  <a:lnTo>
                    <a:pt x="2296" y="694"/>
                  </a:lnTo>
                  <a:lnTo>
                    <a:pt x="2290" y="714"/>
                  </a:lnTo>
                  <a:lnTo>
                    <a:pt x="2283" y="734"/>
                  </a:lnTo>
                  <a:lnTo>
                    <a:pt x="2275" y="754"/>
                  </a:lnTo>
                  <a:lnTo>
                    <a:pt x="2265" y="773"/>
                  </a:lnTo>
                  <a:close/>
                  <a:moveTo>
                    <a:pt x="2563" y="1137"/>
                  </a:moveTo>
                  <a:lnTo>
                    <a:pt x="2584" y="1174"/>
                  </a:lnTo>
                  <a:lnTo>
                    <a:pt x="2604" y="1212"/>
                  </a:lnTo>
                  <a:lnTo>
                    <a:pt x="2624" y="1250"/>
                  </a:lnTo>
                  <a:lnTo>
                    <a:pt x="2641" y="1289"/>
                  </a:lnTo>
                  <a:lnTo>
                    <a:pt x="2656" y="1327"/>
                  </a:lnTo>
                  <a:lnTo>
                    <a:pt x="2671" y="1368"/>
                  </a:lnTo>
                  <a:lnTo>
                    <a:pt x="2683" y="1407"/>
                  </a:lnTo>
                  <a:lnTo>
                    <a:pt x="2695" y="1446"/>
                  </a:lnTo>
                  <a:lnTo>
                    <a:pt x="2708" y="1415"/>
                  </a:lnTo>
                  <a:lnTo>
                    <a:pt x="2719" y="1384"/>
                  </a:lnTo>
                  <a:lnTo>
                    <a:pt x="2730" y="1351"/>
                  </a:lnTo>
                  <a:lnTo>
                    <a:pt x="2738" y="1319"/>
                  </a:lnTo>
                  <a:lnTo>
                    <a:pt x="2743" y="1286"/>
                  </a:lnTo>
                  <a:lnTo>
                    <a:pt x="2748" y="1254"/>
                  </a:lnTo>
                  <a:lnTo>
                    <a:pt x="2751" y="1220"/>
                  </a:lnTo>
                  <a:lnTo>
                    <a:pt x="2753" y="1186"/>
                  </a:lnTo>
                  <a:lnTo>
                    <a:pt x="2753" y="1186"/>
                  </a:lnTo>
                  <a:lnTo>
                    <a:pt x="2741" y="1151"/>
                  </a:lnTo>
                  <a:lnTo>
                    <a:pt x="2730" y="1118"/>
                  </a:lnTo>
                  <a:lnTo>
                    <a:pt x="2716" y="1084"/>
                  </a:lnTo>
                  <a:lnTo>
                    <a:pt x="2701" y="1051"/>
                  </a:lnTo>
                  <a:lnTo>
                    <a:pt x="2685" y="1019"/>
                  </a:lnTo>
                  <a:lnTo>
                    <a:pt x="2667" y="986"/>
                  </a:lnTo>
                  <a:lnTo>
                    <a:pt x="2649" y="955"/>
                  </a:lnTo>
                  <a:lnTo>
                    <a:pt x="2629" y="924"/>
                  </a:lnTo>
                  <a:lnTo>
                    <a:pt x="2626" y="952"/>
                  </a:lnTo>
                  <a:lnTo>
                    <a:pt x="2621" y="979"/>
                  </a:lnTo>
                  <a:lnTo>
                    <a:pt x="2616" y="1006"/>
                  </a:lnTo>
                  <a:lnTo>
                    <a:pt x="2607" y="1032"/>
                  </a:lnTo>
                  <a:lnTo>
                    <a:pt x="2598" y="1059"/>
                  </a:lnTo>
                  <a:lnTo>
                    <a:pt x="2588" y="1085"/>
                  </a:lnTo>
                  <a:lnTo>
                    <a:pt x="2576" y="1111"/>
                  </a:lnTo>
                  <a:lnTo>
                    <a:pt x="2563" y="1137"/>
                  </a:lnTo>
                  <a:close/>
                  <a:moveTo>
                    <a:pt x="2705" y="1489"/>
                  </a:moveTo>
                  <a:lnTo>
                    <a:pt x="2712" y="1527"/>
                  </a:lnTo>
                  <a:lnTo>
                    <a:pt x="2719" y="1566"/>
                  </a:lnTo>
                  <a:lnTo>
                    <a:pt x="2724" y="1605"/>
                  </a:lnTo>
                  <a:lnTo>
                    <a:pt x="2726" y="1644"/>
                  </a:lnTo>
                  <a:lnTo>
                    <a:pt x="2727" y="1683"/>
                  </a:lnTo>
                  <a:lnTo>
                    <a:pt x="2727" y="1722"/>
                  </a:lnTo>
                  <a:lnTo>
                    <a:pt x="2725" y="1762"/>
                  </a:lnTo>
                  <a:lnTo>
                    <a:pt x="2722" y="1801"/>
                  </a:lnTo>
                  <a:lnTo>
                    <a:pt x="2731" y="1779"/>
                  </a:lnTo>
                  <a:lnTo>
                    <a:pt x="2739" y="1757"/>
                  </a:lnTo>
                  <a:lnTo>
                    <a:pt x="2746" y="1735"/>
                  </a:lnTo>
                  <a:lnTo>
                    <a:pt x="2753" y="1713"/>
                  </a:lnTo>
                  <a:lnTo>
                    <a:pt x="2753" y="1713"/>
                  </a:lnTo>
                  <a:lnTo>
                    <a:pt x="2761" y="1679"/>
                  </a:lnTo>
                  <a:lnTo>
                    <a:pt x="2766" y="1643"/>
                  </a:lnTo>
                  <a:lnTo>
                    <a:pt x="2772" y="1608"/>
                  </a:lnTo>
                  <a:lnTo>
                    <a:pt x="2777" y="1572"/>
                  </a:lnTo>
                  <a:lnTo>
                    <a:pt x="2781" y="1536"/>
                  </a:lnTo>
                  <a:lnTo>
                    <a:pt x="2784" y="1499"/>
                  </a:lnTo>
                  <a:lnTo>
                    <a:pt x="2786" y="1463"/>
                  </a:lnTo>
                  <a:lnTo>
                    <a:pt x="2787" y="1426"/>
                  </a:lnTo>
                  <a:lnTo>
                    <a:pt x="2787" y="1426"/>
                  </a:lnTo>
                  <a:lnTo>
                    <a:pt x="2786" y="1388"/>
                  </a:lnTo>
                  <a:lnTo>
                    <a:pt x="2783" y="1350"/>
                  </a:lnTo>
                  <a:lnTo>
                    <a:pt x="2779" y="1312"/>
                  </a:lnTo>
                  <a:lnTo>
                    <a:pt x="2773" y="1275"/>
                  </a:lnTo>
                  <a:lnTo>
                    <a:pt x="2769" y="1303"/>
                  </a:lnTo>
                  <a:lnTo>
                    <a:pt x="2763" y="1331"/>
                  </a:lnTo>
                  <a:lnTo>
                    <a:pt x="2756" y="1357"/>
                  </a:lnTo>
                  <a:lnTo>
                    <a:pt x="2748" y="1385"/>
                  </a:lnTo>
                  <a:lnTo>
                    <a:pt x="2739" y="1410"/>
                  </a:lnTo>
                  <a:lnTo>
                    <a:pt x="2728" y="1437"/>
                  </a:lnTo>
                  <a:lnTo>
                    <a:pt x="2717" y="1463"/>
                  </a:lnTo>
                  <a:lnTo>
                    <a:pt x="2705" y="1489"/>
                  </a:lnTo>
                  <a:close/>
                  <a:moveTo>
                    <a:pt x="2397" y="2356"/>
                  </a:moveTo>
                  <a:lnTo>
                    <a:pt x="2414" y="2331"/>
                  </a:lnTo>
                  <a:lnTo>
                    <a:pt x="2430" y="2304"/>
                  </a:lnTo>
                  <a:lnTo>
                    <a:pt x="2445" y="2277"/>
                  </a:lnTo>
                  <a:lnTo>
                    <a:pt x="2458" y="2249"/>
                  </a:lnTo>
                  <a:lnTo>
                    <a:pt x="2470" y="2220"/>
                  </a:lnTo>
                  <a:lnTo>
                    <a:pt x="2481" y="2191"/>
                  </a:lnTo>
                  <a:lnTo>
                    <a:pt x="2490" y="2161"/>
                  </a:lnTo>
                  <a:lnTo>
                    <a:pt x="2497" y="2131"/>
                  </a:lnTo>
                  <a:lnTo>
                    <a:pt x="2475" y="2150"/>
                  </a:lnTo>
                  <a:lnTo>
                    <a:pt x="2451" y="2168"/>
                  </a:lnTo>
                  <a:lnTo>
                    <a:pt x="2428" y="2186"/>
                  </a:lnTo>
                  <a:lnTo>
                    <a:pt x="2402" y="2203"/>
                  </a:lnTo>
                  <a:lnTo>
                    <a:pt x="2377" y="2220"/>
                  </a:lnTo>
                  <a:lnTo>
                    <a:pt x="2351" y="2236"/>
                  </a:lnTo>
                  <a:lnTo>
                    <a:pt x="2324" y="2252"/>
                  </a:lnTo>
                  <a:lnTo>
                    <a:pt x="2298" y="2267"/>
                  </a:lnTo>
                  <a:lnTo>
                    <a:pt x="2278" y="2278"/>
                  </a:lnTo>
                  <a:lnTo>
                    <a:pt x="2258" y="2288"/>
                  </a:lnTo>
                  <a:lnTo>
                    <a:pt x="2238" y="2299"/>
                  </a:lnTo>
                  <a:lnTo>
                    <a:pt x="2217" y="2308"/>
                  </a:lnTo>
                  <a:lnTo>
                    <a:pt x="2213" y="2338"/>
                  </a:lnTo>
                  <a:lnTo>
                    <a:pt x="2210" y="2367"/>
                  </a:lnTo>
                  <a:lnTo>
                    <a:pt x="2204" y="2393"/>
                  </a:lnTo>
                  <a:lnTo>
                    <a:pt x="2198" y="2421"/>
                  </a:lnTo>
                  <a:lnTo>
                    <a:pt x="2193" y="2446"/>
                  </a:lnTo>
                  <a:lnTo>
                    <a:pt x="2185" y="2470"/>
                  </a:lnTo>
                  <a:lnTo>
                    <a:pt x="2177" y="2493"/>
                  </a:lnTo>
                  <a:lnTo>
                    <a:pt x="2167" y="2515"/>
                  </a:lnTo>
                  <a:lnTo>
                    <a:pt x="2200" y="2498"/>
                  </a:lnTo>
                  <a:lnTo>
                    <a:pt x="2230" y="2479"/>
                  </a:lnTo>
                  <a:lnTo>
                    <a:pt x="2260" y="2461"/>
                  </a:lnTo>
                  <a:lnTo>
                    <a:pt x="2290" y="2441"/>
                  </a:lnTo>
                  <a:lnTo>
                    <a:pt x="2317" y="2421"/>
                  </a:lnTo>
                  <a:lnTo>
                    <a:pt x="2345" y="2400"/>
                  </a:lnTo>
                  <a:lnTo>
                    <a:pt x="2371" y="2378"/>
                  </a:lnTo>
                  <a:lnTo>
                    <a:pt x="2397" y="2356"/>
                  </a:lnTo>
                  <a:close/>
                  <a:moveTo>
                    <a:pt x="2506" y="2088"/>
                  </a:moveTo>
                  <a:lnTo>
                    <a:pt x="2512" y="2047"/>
                  </a:lnTo>
                  <a:lnTo>
                    <a:pt x="2515" y="2007"/>
                  </a:lnTo>
                  <a:lnTo>
                    <a:pt x="2518" y="1966"/>
                  </a:lnTo>
                  <a:lnTo>
                    <a:pt x="2518" y="1923"/>
                  </a:lnTo>
                  <a:lnTo>
                    <a:pt x="2515" y="1880"/>
                  </a:lnTo>
                  <a:lnTo>
                    <a:pt x="2512" y="1837"/>
                  </a:lnTo>
                  <a:lnTo>
                    <a:pt x="2506" y="1793"/>
                  </a:lnTo>
                  <a:lnTo>
                    <a:pt x="2498" y="1749"/>
                  </a:lnTo>
                  <a:lnTo>
                    <a:pt x="2469" y="1773"/>
                  </a:lnTo>
                  <a:lnTo>
                    <a:pt x="2439" y="1797"/>
                  </a:lnTo>
                  <a:lnTo>
                    <a:pt x="2408" y="1822"/>
                  </a:lnTo>
                  <a:lnTo>
                    <a:pt x="2376" y="1843"/>
                  </a:lnTo>
                  <a:lnTo>
                    <a:pt x="2336" y="1869"/>
                  </a:lnTo>
                  <a:lnTo>
                    <a:pt x="2295" y="1894"/>
                  </a:lnTo>
                  <a:lnTo>
                    <a:pt x="2253" y="1917"/>
                  </a:lnTo>
                  <a:lnTo>
                    <a:pt x="2209" y="1939"/>
                  </a:lnTo>
                  <a:lnTo>
                    <a:pt x="2212" y="1971"/>
                  </a:lnTo>
                  <a:lnTo>
                    <a:pt x="2216" y="2004"/>
                  </a:lnTo>
                  <a:lnTo>
                    <a:pt x="2219" y="2035"/>
                  </a:lnTo>
                  <a:lnTo>
                    <a:pt x="2220" y="2066"/>
                  </a:lnTo>
                  <a:lnTo>
                    <a:pt x="2223" y="2097"/>
                  </a:lnTo>
                  <a:lnTo>
                    <a:pt x="2224" y="2127"/>
                  </a:lnTo>
                  <a:lnTo>
                    <a:pt x="2224" y="2157"/>
                  </a:lnTo>
                  <a:lnTo>
                    <a:pt x="2224" y="2186"/>
                  </a:lnTo>
                  <a:lnTo>
                    <a:pt x="2224" y="2209"/>
                  </a:lnTo>
                  <a:lnTo>
                    <a:pt x="2223" y="2232"/>
                  </a:lnTo>
                  <a:lnTo>
                    <a:pt x="2222" y="2255"/>
                  </a:lnTo>
                  <a:lnTo>
                    <a:pt x="2220" y="2277"/>
                  </a:lnTo>
                  <a:lnTo>
                    <a:pt x="2237" y="2269"/>
                  </a:lnTo>
                  <a:lnTo>
                    <a:pt x="2253" y="2261"/>
                  </a:lnTo>
                  <a:lnTo>
                    <a:pt x="2269" y="2252"/>
                  </a:lnTo>
                  <a:lnTo>
                    <a:pt x="2284" y="2243"/>
                  </a:lnTo>
                  <a:lnTo>
                    <a:pt x="2315" y="2226"/>
                  </a:lnTo>
                  <a:lnTo>
                    <a:pt x="2345" y="2208"/>
                  </a:lnTo>
                  <a:lnTo>
                    <a:pt x="2374" y="2189"/>
                  </a:lnTo>
                  <a:lnTo>
                    <a:pt x="2402" y="2169"/>
                  </a:lnTo>
                  <a:lnTo>
                    <a:pt x="2430" y="2150"/>
                  </a:lnTo>
                  <a:lnTo>
                    <a:pt x="2457" y="2130"/>
                  </a:lnTo>
                  <a:lnTo>
                    <a:pt x="2482" y="2110"/>
                  </a:lnTo>
                  <a:lnTo>
                    <a:pt x="2506" y="2088"/>
                  </a:lnTo>
                  <a:close/>
                  <a:moveTo>
                    <a:pt x="2492" y="1718"/>
                  </a:moveTo>
                  <a:lnTo>
                    <a:pt x="2486" y="1694"/>
                  </a:lnTo>
                  <a:lnTo>
                    <a:pt x="2481" y="1669"/>
                  </a:lnTo>
                  <a:lnTo>
                    <a:pt x="2475" y="1645"/>
                  </a:lnTo>
                  <a:lnTo>
                    <a:pt x="2468" y="1621"/>
                  </a:lnTo>
                  <a:lnTo>
                    <a:pt x="2461" y="1597"/>
                  </a:lnTo>
                  <a:lnTo>
                    <a:pt x="2453" y="1573"/>
                  </a:lnTo>
                  <a:lnTo>
                    <a:pt x="2445" y="1549"/>
                  </a:lnTo>
                  <a:lnTo>
                    <a:pt x="2437" y="1524"/>
                  </a:lnTo>
                  <a:lnTo>
                    <a:pt x="2422" y="1484"/>
                  </a:lnTo>
                  <a:lnTo>
                    <a:pt x="2406" y="1443"/>
                  </a:lnTo>
                  <a:lnTo>
                    <a:pt x="2387" y="1402"/>
                  </a:lnTo>
                  <a:lnTo>
                    <a:pt x="2369" y="1362"/>
                  </a:lnTo>
                  <a:lnTo>
                    <a:pt x="2346" y="1380"/>
                  </a:lnTo>
                  <a:lnTo>
                    <a:pt x="2322" y="1399"/>
                  </a:lnTo>
                  <a:lnTo>
                    <a:pt x="2296" y="1416"/>
                  </a:lnTo>
                  <a:lnTo>
                    <a:pt x="2271" y="1433"/>
                  </a:lnTo>
                  <a:lnTo>
                    <a:pt x="2235" y="1454"/>
                  </a:lnTo>
                  <a:lnTo>
                    <a:pt x="2198" y="1475"/>
                  </a:lnTo>
                  <a:lnTo>
                    <a:pt x="2159" y="1496"/>
                  </a:lnTo>
                  <a:lnTo>
                    <a:pt x="2120" y="1514"/>
                  </a:lnTo>
                  <a:lnTo>
                    <a:pt x="2128" y="1539"/>
                  </a:lnTo>
                  <a:lnTo>
                    <a:pt x="2135" y="1566"/>
                  </a:lnTo>
                  <a:lnTo>
                    <a:pt x="2142" y="1591"/>
                  </a:lnTo>
                  <a:lnTo>
                    <a:pt x="2148" y="1618"/>
                  </a:lnTo>
                  <a:lnTo>
                    <a:pt x="2157" y="1655"/>
                  </a:lnTo>
                  <a:lnTo>
                    <a:pt x="2166" y="1693"/>
                  </a:lnTo>
                  <a:lnTo>
                    <a:pt x="2174" y="1729"/>
                  </a:lnTo>
                  <a:lnTo>
                    <a:pt x="2181" y="1766"/>
                  </a:lnTo>
                  <a:lnTo>
                    <a:pt x="2188" y="1803"/>
                  </a:lnTo>
                  <a:lnTo>
                    <a:pt x="2195" y="1839"/>
                  </a:lnTo>
                  <a:lnTo>
                    <a:pt x="2200" y="1875"/>
                  </a:lnTo>
                  <a:lnTo>
                    <a:pt x="2205" y="1910"/>
                  </a:lnTo>
                  <a:lnTo>
                    <a:pt x="2246" y="1890"/>
                  </a:lnTo>
                  <a:lnTo>
                    <a:pt x="2285" y="1868"/>
                  </a:lnTo>
                  <a:lnTo>
                    <a:pt x="2323" y="1845"/>
                  </a:lnTo>
                  <a:lnTo>
                    <a:pt x="2360" y="1822"/>
                  </a:lnTo>
                  <a:lnTo>
                    <a:pt x="2395" y="1796"/>
                  </a:lnTo>
                  <a:lnTo>
                    <a:pt x="2429" y="1771"/>
                  </a:lnTo>
                  <a:lnTo>
                    <a:pt x="2461" y="1744"/>
                  </a:lnTo>
                  <a:lnTo>
                    <a:pt x="2492" y="1718"/>
                  </a:lnTo>
                  <a:close/>
                  <a:moveTo>
                    <a:pt x="2357" y="1337"/>
                  </a:moveTo>
                  <a:lnTo>
                    <a:pt x="2332" y="1287"/>
                  </a:lnTo>
                  <a:lnTo>
                    <a:pt x="2306" y="1239"/>
                  </a:lnTo>
                  <a:lnTo>
                    <a:pt x="2278" y="1189"/>
                  </a:lnTo>
                  <a:lnTo>
                    <a:pt x="2248" y="1141"/>
                  </a:lnTo>
                  <a:lnTo>
                    <a:pt x="2218" y="1093"/>
                  </a:lnTo>
                  <a:lnTo>
                    <a:pt x="2186" y="1046"/>
                  </a:lnTo>
                  <a:lnTo>
                    <a:pt x="2152" y="999"/>
                  </a:lnTo>
                  <a:lnTo>
                    <a:pt x="2118" y="953"/>
                  </a:lnTo>
                  <a:lnTo>
                    <a:pt x="2099" y="968"/>
                  </a:lnTo>
                  <a:lnTo>
                    <a:pt x="2082" y="982"/>
                  </a:lnTo>
                  <a:lnTo>
                    <a:pt x="2063" y="994"/>
                  </a:lnTo>
                  <a:lnTo>
                    <a:pt x="2043" y="1007"/>
                  </a:lnTo>
                  <a:lnTo>
                    <a:pt x="2021" y="1021"/>
                  </a:lnTo>
                  <a:lnTo>
                    <a:pt x="1998" y="1035"/>
                  </a:lnTo>
                  <a:lnTo>
                    <a:pt x="1975" y="1047"/>
                  </a:lnTo>
                  <a:lnTo>
                    <a:pt x="1951" y="1060"/>
                  </a:lnTo>
                  <a:lnTo>
                    <a:pt x="1975" y="1112"/>
                  </a:lnTo>
                  <a:lnTo>
                    <a:pt x="1997" y="1165"/>
                  </a:lnTo>
                  <a:lnTo>
                    <a:pt x="2019" y="1218"/>
                  </a:lnTo>
                  <a:lnTo>
                    <a:pt x="2040" y="1272"/>
                  </a:lnTo>
                  <a:lnTo>
                    <a:pt x="2060" y="1326"/>
                  </a:lnTo>
                  <a:lnTo>
                    <a:pt x="2079" y="1379"/>
                  </a:lnTo>
                  <a:lnTo>
                    <a:pt x="2096" y="1433"/>
                  </a:lnTo>
                  <a:lnTo>
                    <a:pt x="2112" y="1487"/>
                  </a:lnTo>
                  <a:lnTo>
                    <a:pt x="2150" y="1469"/>
                  </a:lnTo>
                  <a:lnTo>
                    <a:pt x="2187" y="1451"/>
                  </a:lnTo>
                  <a:lnTo>
                    <a:pt x="2222" y="1431"/>
                  </a:lnTo>
                  <a:lnTo>
                    <a:pt x="2256" y="1410"/>
                  </a:lnTo>
                  <a:lnTo>
                    <a:pt x="2283" y="1392"/>
                  </a:lnTo>
                  <a:lnTo>
                    <a:pt x="2308" y="1375"/>
                  </a:lnTo>
                  <a:lnTo>
                    <a:pt x="2333" y="1356"/>
                  </a:lnTo>
                  <a:lnTo>
                    <a:pt x="2357" y="1337"/>
                  </a:lnTo>
                  <a:close/>
                  <a:moveTo>
                    <a:pt x="2101" y="932"/>
                  </a:moveTo>
                  <a:lnTo>
                    <a:pt x="2066" y="888"/>
                  </a:lnTo>
                  <a:lnTo>
                    <a:pt x="2030" y="846"/>
                  </a:lnTo>
                  <a:lnTo>
                    <a:pt x="1993" y="804"/>
                  </a:lnTo>
                  <a:lnTo>
                    <a:pt x="1955" y="764"/>
                  </a:lnTo>
                  <a:lnTo>
                    <a:pt x="1916" y="724"/>
                  </a:lnTo>
                  <a:lnTo>
                    <a:pt x="1877" y="686"/>
                  </a:lnTo>
                  <a:lnTo>
                    <a:pt x="1837" y="648"/>
                  </a:lnTo>
                  <a:lnTo>
                    <a:pt x="1795" y="612"/>
                  </a:lnTo>
                  <a:lnTo>
                    <a:pt x="1784" y="622"/>
                  </a:lnTo>
                  <a:lnTo>
                    <a:pt x="1772" y="631"/>
                  </a:lnTo>
                  <a:lnTo>
                    <a:pt x="1760" y="641"/>
                  </a:lnTo>
                  <a:lnTo>
                    <a:pt x="1746" y="650"/>
                  </a:lnTo>
                  <a:lnTo>
                    <a:pt x="1735" y="657"/>
                  </a:lnTo>
                  <a:lnTo>
                    <a:pt x="1724" y="664"/>
                  </a:lnTo>
                  <a:lnTo>
                    <a:pt x="1752" y="704"/>
                  </a:lnTo>
                  <a:lnTo>
                    <a:pt x="1778" y="744"/>
                  </a:lnTo>
                  <a:lnTo>
                    <a:pt x="1805" y="786"/>
                  </a:lnTo>
                  <a:lnTo>
                    <a:pt x="1830" y="828"/>
                  </a:lnTo>
                  <a:lnTo>
                    <a:pt x="1854" y="871"/>
                  </a:lnTo>
                  <a:lnTo>
                    <a:pt x="1878" y="915"/>
                  </a:lnTo>
                  <a:lnTo>
                    <a:pt x="1901" y="959"/>
                  </a:lnTo>
                  <a:lnTo>
                    <a:pt x="1924" y="1004"/>
                  </a:lnTo>
                  <a:lnTo>
                    <a:pt x="1931" y="1019"/>
                  </a:lnTo>
                  <a:lnTo>
                    <a:pt x="1939" y="1035"/>
                  </a:lnTo>
                  <a:lnTo>
                    <a:pt x="1962" y="1023"/>
                  </a:lnTo>
                  <a:lnTo>
                    <a:pt x="1985" y="1010"/>
                  </a:lnTo>
                  <a:lnTo>
                    <a:pt x="2007" y="998"/>
                  </a:lnTo>
                  <a:lnTo>
                    <a:pt x="2028" y="985"/>
                  </a:lnTo>
                  <a:lnTo>
                    <a:pt x="2048" y="971"/>
                  </a:lnTo>
                  <a:lnTo>
                    <a:pt x="2066" y="959"/>
                  </a:lnTo>
                  <a:lnTo>
                    <a:pt x="2083" y="946"/>
                  </a:lnTo>
                  <a:lnTo>
                    <a:pt x="2101" y="932"/>
                  </a:lnTo>
                  <a:close/>
                  <a:moveTo>
                    <a:pt x="1775" y="593"/>
                  </a:moveTo>
                  <a:lnTo>
                    <a:pt x="1753" y="576"/>
                  </a:lnTo>
                  <a:lnTo>
                    <a:pt x="1731" y="558"/>
                  </a:lnTo>
                  <a:lnTo>
                    <a:pt x="1709" y="540"/>
                  </a:lnTo>
                  <a:lnTo>
                    <a:pt x="1686" y="524"/>
                  </a:lnTo>
                  <a:lnTo>
                    <a:pt x="1664" y="507"/>
                  </a:lnTo>
                  <a:lnTo>
                    <a:pt x="1641" y="491"/>
                  </a:lnTo>
                  <a:lnTo>
                    <a:pt x="1619" y="476"/>
                  </a:lnTo>
                  <a:lnTo>
                    <a:pt x="1596" y="460"/>
                  </a:lnTo>
                  <a:lnTo>
                    <a:pt x="1572" y="445"/>
                  </a:lnTo>
                  <a:lnTo>
                    <a:pt x="1549" y="430"/>
                  </a:lnTo>
                  <a:lnTo>
                    <a:pt x="1525" y="416"/>
                  </a:lnTo>
                  <a:lnTo>
                    <a:pt x="1502" y="402"/>
                  </a:lnTo>
                  <a:lnTo>
                    <a:pt x="1529" y="429"/>
                  </a:lnTo>
                  <a:lnTo>
                    <a:pt x="1556" y="456"/>
                  </a:lnTo>
                  <a:lnTo>
                    <a:pt x="1582" y="485"/>
                  </a:lnTo>
                  <a:lnTo>
                    <a:pt x="1609" y="515"/>
                  </a:lnTo>
                  <a:lnTo>
                    <a:pt x="1634" y="546"/>
                  </a:lnTo>
                  <a:lnTo>
                    <a:pt x="1659" y="577"/>
                  </a:lnTo>
                  <a:lnTo>
                    <a:pt x="1684" y="610"/>
                  </a:lnTo>
                  <a:lnTo>
                    <a:pt x="1709" y="642"/>
                  </a:lnTo>
                  <a:lnTo>
                    <a:pt x="1720" y="635"/>
                  </a:lnTo>
                  <a:lnTo>
                    <a:pt x="1731" y="628"/>
                  </a:lnTo>
                  <a:lnTo>
                    <a:pt x="1742" y="620"/>
                  </a:lnTo>
                  <a:lnTo>
                    <a:pt x="1754" y="611"/>
                  </a:lnTo>
                  <a:lnTo>
                    <a:pt x="1764" y="603"/>
                  </a:lnTo>
                  <a:lnTo>
                    <a:pt x="1775" y="593"/>
                  </a:lnTo>
                  <a:close/>
                  <a:moveTo>
                    <a:pt x="634" y="265"/>
                  </a:moveTo>
                  <a:lnTo>
                    <a:pt x="643" y="262"/>
                  </a:lnTo>
                  <a:lnTo>
                    <a:pt x="653" y="258"/>
                  </a:lnTo>
                  <a:lnTo>
                    <a:pt x="662" y="255"/>
                  </a:lnTo>
                  <a:lnTo>
                    <a:pt x="671" y="251"/>
                  </a:lnTo>
                  <a:lnTo>
                    <a:pt x="682" y="242"/>
                  </a:lnTo>
                  <a:lnTo>
                    <a:pt x="693" y="232"/>
                  </a:lnTo>
                  <a:lnTo>
                    <a:pt x="704" y="222"/>
                  </a:lnTo>
                  <a:lnTo>
                    <a:pt x="717" y="213"/>
                  </a:lnTo>
                  <a:lnTo>
                    <a:pt x="695" y="226"/>
                  </a:lnTo>
                  <a:lnTo>
                    <a:pt x="674" y="239"/>
                  </a:lnTo>
                  <a:lnTo>
                    <a:pt x="654" y="251"/>
                  </a:lnTo>
                  <a:lnTo>
                    <a:pt x="634" y="265"/>
                  </a:lnTo>
                  <a:close/>
                  <a:moveTo>
                    <a:pt x="738" y="232"/>
                  </a:moveTo>
                  <a:lnTo>
                    <a:pt x="773" y="224"/>
                  </a:lnTo>
                  <a:lnTo>
                    <a:pt x="809" y="217"/>
                  </a:lnTo>
                  <a:lnTo>
                    <a:pt x="845" y="212"/>
                  </a:lnTo>
                  <a:lnTo>
                    <a:pt x="882" y="210"/>
                  </a:lnTo>
                  <a:lnTo>
                    <a:pt x="917" y="207"/>
                  </a:lnTo>
                  <a:lnTo>
                    <a:pt x="954" y="207"/>
                  </a:lnTo>
                  <a:lnTo>
                    <a:pt x="991" y="209"/>
                  </a:lnTo>
                  <a:lnTo>
                    <a:pt x="1028" y="212"/>
                  </a:lnTo>
                  <a:lnTo>
                    <a:pt x="1037" y="204"/>
                  </a:lnTo>
                  <a:lnTo>
                    <a:pt x="1048" y="196"/>
                  </a:lnTo>
                  <a:lnTo>
                    <a:pt x="1058" y="188"/>
                  </a:lnTo>
                  <a:lnTo>
                    <a:pt x="1068" y="181"/>
                  </a:lnTo>
                  <a:lnTo>
                    <a:pt x="1074" y="176"/>
                  </a:lnTo>
                  <a:lnTo>
                    <a:pt x="1081" y="173"/>
                  </a:lnTo>
                  <a:lnTo>
                    <a:pt x="1058" y="166"/>
                  </a:lnTo>
                  <a:lnTo>
                    <a:pt x="1035" y="160"/>
                  </a:lnTo>
                  <a:lnTo>
                    <a:pt x="1012" y="154"/>
                  </a:lnTo>
                  <a:lnTo>
                    <a:pt x="988" y="150"/>
                  </a:lnTo>
                  <a:lnTo>
                    <a:pt x="965" y="146"/>
                  </a:lnTo>
                  <a:lnTo>
                    <a:pt x="941" y="143"/>
                  </a:lnTo>
                  <a:lnTo>
                    <a:pt x="916" y="141"/>
                  </a:lnTo>
                  <a:lnTo>
                    <a:pt x="892" y="139"/>
                  </a:lnTo>
                  <a:lnTo>
                    <a:pt x="864" y="153"/>
                  </a:lnTo>
                  <a:lnTo>
                    <a:pt x="838" y="167"/>
                  </a:lnTo>
                  <a:lnTo>
                    <a:pt x="811" y="182"/>
                  </a:lnTo>
                  <a:lnTo>
                    <a:pt x="786" y="197"/>
                  </a:lnTo>
                  <a:lnTo>
                    <a:pt x="773" y="206"/>
                  </a:lnTo>
                  <a:lnTo>
                    <a:pt x="762" y="214"/>
                  </a:lnTo>
                  <a:lnTo>
                    <a:pt x="749" y="222"/>
                  </a:lnTo>
                  <a:lnTo>
                    <a:pt x="738" y="232"/>
                  </a:lnTo>
                  <a:close/>
                  <a:moveTo>
                    <a:pt x="1065" y="217"/>
                  </a:moveTo>
                  <a:lnTo>
                    <a:pt x="1095" y="221"/>
                  </a:lnTo>
                  <a:lnTo>
                    <a:pt x="1125" y="227"/>
                  </a:lnTo>
                  <a:lnTo>
                    <a:pt x="1155" y="233"/>
                  </a:lnTo>
                  <a:lnTo>
                    <a:pt x="1184" y="241"/>
                  </a:lnTo>
                  <a:lnTo>
                    <a:pt x="1214" y="249"/>
                  </a:lnTo>
                  <a:lnTo>
                    <a:pt x="1243" y="257"/>
                  </a:lnTo>
                  <a:lnTo>
                    <a:pt x="1272" y="267"/>
                  </a:lnTo>
                  <a:lnTo>
                    <a:pt x="1302" y="278"/>
                  </a:lnTo>
                  <a:lnTo>
                    <a:pt x="1279" y="264"/>
                  </a:lnTo>
                  <a:lnTo>
                    <a:pt x="1256" y="250"/>
                  </a:lnTo>
                  <a:lnTo>
                    <a:pt x="1233" y="237"/>
                  </a:lnTo>
                  <a:lnTo>
                    <a:pt x="1210" y="225"/>
                  </a:lnTo>
                  <a:lnTo>
                    <a:pt x="1187" y="214"/>
                  </a:lnTo>
                  <a:lnTo>
                    <a:pt x="1163" y="203"/>
                  </a:lnTo>
                  <a:lnTo>
                    <a:pt x="1140" y="194"/>
                  </a:lnTo>
                  <a:lnTo>
                    <a:pt x="1116" y="184"/>
                  </a:lnTo>
                  <a:lnTo>
                    <a:pt x="1099" y="194"/>
                  </a:lnTo>
                  <a:lnTo>
                    <a:pt x="1083" y="204"/>
                  </a:lnTo>
                  <a:lnTo>
                    <a:pt x="1074" y="210"/>
                  </a:lnTo>
                  <a:lnTo>
                    <a:pt x="1065" y="217"/>
                  </a:lnTo>
                  <a:close/>
                  <a:moveTo>
                    <a:pt x="2037" y="2635"/>
                  </a:moveTo>
                  <a:lnTo>
                    <a:pt x="2053" y="2625"/>
                  </a:lnTo>
                  <a:lnTo>
                    <a:pt x="2069" y="2612"/>
                  </a:lnTo>
                  <a:lnTo>
                    <a:pt x="2084" y="2597"/>
                  </a:lnTo>
                  <a:lnTo>
                    <a:pt x="2099" y="2581"/>
                  </a:lnTo>
                  <a:lnTo>
                    <a:pt x="2083" y="2588"/>
                  </a:lnTo>
                  <a:lnTo>
                    <a:pt x="2067" y="2595"/>
                  </a:lnTo>
                  <a:lnTo>
                    <a:pt x="2036" y="2607"/>
                  </a:lnTo>
                  <a:lnTo>
                    <a:pt x="2004" y="2620"/>
                  </a:lnTo>
                  <a:lnTo>
                    <a:pt x="1972" y="2631"/>
                  </a:lnTo>
                  <a:lnTo>
                    <a:pt x="1939" y="2643"/>
                  </a:lnTo>
                  <a:lnTo>
                    <a:pt x="1906" y="2653"/>
                  </a:lnTo>
                  <a:lnTo>
                    <a:pt x="1872" y="2663"/>
                  </a:lnTo>
                  <a:lnTo>
                    <a:pt x="1839" y="2672"/>
                  </a:lnTo>
                  <a:lnTo>
                    <a:pt x="1805" y="2681"/>
                  </a:lnTo>
                  <a:lnTo>
                    <a:pt x="1798" y="2696"/>
                  </a:lnTo>
                  <a:lnTo>
                    <a:pt x="1790" y="2711"/>
                  </a:lnTo>
                  <a:lnTo>
                    <a:pt x="1781" y="2726"/>
                  </a:lnTo>
                  <a:lnTo>
                    <a:pt x="1773" y="2739"/>
                  </a:lnTo>
                  <a:lnTo>
                    <a:pt x="1808" y="2728"/>
                  </a:lnTo>
                  <a:lnTo>
                    <a:pt x="1841" y="2718"/>
                  </a:lnTo>
                  <a:lnTo>
                    <a:pt x="1875" y="2706"/>
                  </a:lnTo>
                  <a:lnTo>
                    <a:pt x="1908" y="2694"/>
                  </a:lnTo>
                  <a:lnTo>
                    <a:pt x="1940" y="2680"/>
                  </a:lnTo>
                  <a:lnTo>
                    <a:pt x="1974" y="2666"/>
                  </a:lnTo>
                  <a:lnTo>
                    <a:pt x="2005" y="2651"/>
                  </a:lnTo>
                  <a:lnTo>
                    <a:pt x="2037" y="2635"/>
                  </a:lnTo>
                  <a:close/>
                  <a:moveTo>
                    <a:pt x="2128" y="2536"/>
                  </a:moveTo>
                  <a:lnTo>
                    <a:pt x="2139" y="2515"/>
                  </a:lnTo>
                  <a:lnTo>
                    <a:pt x="2149" y="2491"/>
                  </a:lnTo>
                  <a:lnTo>
                    <a:pt x="2158" y="2467"/>
                  </a:lnTo>
                  <a:lnTo>
                    <a:pt x="2166" y="2440"/>
                  </a:lnTo>
                  <a:lnTo>
                    <a:pt x="2173" y="2413"/>
                  </a:lnTo>
                  <a:lnTo>
                    <a:pt x="2179" y="2384"/>
                  </a:lnTo>
                  <a:lnTo>
                    <a:pt x="2185" y="2353"/>
                  </a:lnTo>
                  <a:lnTo>
                    <a:pt x="2188" y="2322"/>
                  </a:lnTo>
                  <a:lnTo>
                    <a:pt x="2150" y="2339"/>
                  </a:lnTo>
                  <a:lnTo>
                    <a:pt x="2110" y="2355"/>
                  </a:lnTo>
                  <a:lnTo>
                    <a:pt x="2068" y="2370"/>
                  </a:lnTo>
                  <a:lnTo>
                    <a:pt x="2027" y="2384"/>
                  </a:lnTo>
                  <a:lnTo>
                    <a:pt x="1984" y="2398"/>
                  </a:lnTo>
                  <a:lnTo>
                    <a:pt x="1942" y="2410"/>
                  </a:lnTo>
                  <a:lnTo>
                    <a:pt x="1898" y="2422"/>
                  </a:lnTo>
                  <a:lnTo>
                    <a:pt x="1853" y="2432"/>
                  </a:lnTo>
                  <a:lnTo>
                    <a:pt x="1851" y="2463"/>
                  </a:lnTo>
                  <a:lnTo>
                    <a:pt x="1847" y="2494"/>
                  </a:lnTo>
                  <a:lnTo>
                    <a:pt x="1844" y="2523"/>
                  </a:lnTo>
                  <a:lnTo>
                    <a:pt x="1839" y="2551"/>
                  </a:lnTo>
                  <a:lnTo>
                    <a:pt x="1834" y="2577"/>
                  </a:lnTo>
                  <a:lnTo>
                    <a:pt x="1829" y="2603"/>
                  </a:lnTo>
                  <a:lnTo>
                    <a:pt x="1822" y="2627"/>
                  </a:lnTo>
                  <a:lnTo>
                    <a:pt x="1816" y="2650"/>
                  </a:lnTo>
                  <a:lnTo>
                    <a:pt x="1847" y="2642"/>
                  </a:lnTo>
                  <a:lnTo>
                    <a:pt x="1878" y="2633"/>
                  </a:lnTo>
                  <a:lnTo>
                    <a:pt x="1909" y="2623"/>
                  </a:lnTo>
                  <a:lnTo>
                    <a:pt x="1939" y="2614"/>
                  </a:lnTo>
                  <a:lnTo>
                    <a:pt x="1969" y="2604"/>
                  </a:lnTo>
                  <a:lnTo>
                    <a:pt x="1998" y="2593"/>
                  </a:lnTo>
                  <a:lnTo>
                    <a:pt x="2027" y="2582"/>
                  </a:lnTo>
                  <a:lnTo>
                    <a:pt x="2056" y="2569"/>
                  </a:lnTo>
                  <a:lnTo>
                    <a:pt x="2074" y="2561"/>
                  </a:lnTo>
                  <a:lnTo>
                    <a:pt x="2093" y="2553"/>
                  </a:lnTo>
                  <a:lnTo>
                    <a:pt x="2110" y="2545"/>
                  </a:lnTo>
                  <a:lnTo>
                    <a:pt x="2128" y="2536"/>
                  </a:lnTo>
                  <a:close/>
                  <a:moveTo>
                    <a:pt x="2192" y="2290"/>
                  </a:moveTo>
                  <a:lnTo>
                    <a:pt x="2194" y="2265"/>
                  </a:lnTo>
                  <a:lnTo>
                    <a:pt x="2195" y="2239"/>
                  </a:lnTo>
                  <a:lnTo>
                    <a:pt x="2196" y="2212"/>
                  </a:lnTo>
                  <a:lnTo>
                    <a:pt x="2197" y="2186"/>
                  </a:lnTo>
                  <a:lnTo>
                    <a:pt x="2197" y="2158"/>
                  </a:lnTo>
                  <a:lnTo>
                    <a:pt x="2196" y="2129"/>
                  </a:lnTo>
                  <a:lnTo>
                    <a:pt x="2195" y="2102"/>
                  </a:lnTo>
                  <a:lnTo>
                    <a:pt x="2194" y="2072"/>
                  </a:lnTo>
                  <a:lnTo>
                    <a:pt x="2192" y="2043"/>
                  </a:lnTo>
                  <a:lnTo>
                    <a:pt x="2189" y="2013"/>
                  </a:lnTo>
                  <a:lnTo>
                    <a:pt x="2187" y="1983"/>
                  </a:lnTo>
                  <a:lnTo>
                    <a:pt x="2184" y="1952"/>
                  </a:lnTo>
                  <a:lnTo>
                    <a:pt x="2144" y="1969"/>
                  </a:lnTo>
                  <a:lnTo>
                    <a:pt x="2104" y="1985"/>
                  </a:lnTo>
                  <a:lnTo>
                    <a:pt x="2064" y="2001"/>
                  </a:lnTo>
                  <a:lnTo>
                    <a:pt x="2022" y="2015"/>
                  </a:lnTo>
                  <a:lnTo>
                    <a:pt x="1981" y="2029"/>
                  </a:lnTo>
                  <a:lnTo>
                    <a:pt x="1937" y="2042"/>
                  </a:lnTo>
                  <a:lnTo>
                    <a:pt x="1893" y="2054"/>
                  </a:lnTo>
                  <a:lnTo>
                    <a:pt x="1849" y="2065"/>
                  </a:lnTo>
                  <a:lnTo>
                    <a:pt x="1852" y="2106"/>
                  </a:lnTo>
                  <a:lnTo>
                    <a:pt x="1854" y="2145"/>
                  </a:lnTo>
                  <a:lnTo>
                    <a:pt x="1855" y="2184"/>
                  </a:lnTo>
                  <a:lnTo>
                    <a:pt x="1856" y="2224"/>
                  </a:lnTo>
                  <a:lnTo>
                    <a:pt x="1858" y="2262"/>
                  </a:lnTo>
                  <a:lnTo>
                    <a:pt x="1858" y="2297"/>
                  </a:lnTo>
                  <a:lnTo>
                    <a:pt x="1858" y="2333"/>
                  </a:lnTo>
                  <a:lnTo>
                    <a:pt x="1856" y="2369"/>
                  </a:lnTo>
                  <a:lnTo>
                    <a:pt x="1856" y="2377"/>
                  </a:lnTo>
                  <a:lnTo>
                    <a:pt x="1855" y="2386"/>
                  </a:lnTo>
                  <a:lnTo>
                    <a:pt x="1855" y="2395"/>
                  </a:lnTo>
                  <a:lnTo>
                    <a:pt x="1855" y="2403"/>
                  </a:lnTo>
                  <a:lnTo>
                    <a:pt x="1900" y="2393"/>
                  </a:lnTo>
                  <a:lnTo>
                    <a:pt x="1944" y="2381"/>
                  </a:lnTo>
                  <a:lnTo>
                    <a:pt x="1988" y="2369"/>
                  </a:lnTo>
                  <a:lnTo>
                    <a:pt x="2030" y="2355"/>
                  </a:lnTo>
                  <a:lnTo>
                    <a:pt x="2072" y="2340"/>
                  </a:lnTo>
                  <a:lnTo>
                    <a:pt x="2113" y="2324"/>
                  </a:lnTo>
                  <a:lnTo>
                    <a:pt x="2152" y="2308"/>
                  </a:lnTo>
                  <a:lnTo>
                    <a:pt x="2192" y="2290"/>
                  </a:lnTo>
                  <a:close/>
                  <a:moveTo>
                    <a:pt x="2179" y="1923"/>
                  </a:moveTo>
                  <a:lnTo>
                    <a:pt x="2174" y="1887"/>
                  </a:lnTo>
                  <a:lnTo>
                    <a:pt x="2169" y="1850"/>
                  </a:lnTo>
                  <a:lnTo>
                    <a:pt x="2163" y="1813"/>
                  </a:lnTo>
                  <a:lnTo>
                    <a:pt x="2156" y="1775"/>
                  </a:lnTo>
                  <a:lnTo>
                    <a:pt x="2148" y="1739"/>
                  </a:lnTo>
                  <a:lnTo>
                    <a:pt x="2140" y="1701"/>
                  </a:lnTo>
                  <a:lnTo>
                    <a:pt x="2131" y="1663"/>
                  </a:lnTo>
                  <a:lnTo>
                    <a:pt x="2121" y="1623"/>
                  </a:lnTo>
                  <a:lnTo>
                    <a:pt x="2116" y="1599"/>
                  </a:lnTo>
                  <a:lnTo>
                    <a:pt x="2109" y="1575"/>
                  </a:lnTo>
                  <a:lnTo>
                    <a:pt x="2102" y="1550"/>
                  </a:lnTo>
                  <a:lnTo>
                    <a:pt x="2095" y="1525"/>
                  </a:lnTo>
                  <a:lnTo>
                    <a:pt x="2060" y="1539"/>
                  </a:lnTo>
                  <a:lnTo>
                    <a:pt x="2025" y="1553"/>
                  </a:lnTo>
                  <a:lnTo>
                    <a:pt x="1989" y="1567"/>
                  </a:lnTo>
                  <a:lnTo>
                    <a:pt x="1952" y="1578"/>
                  </a:lnTo>
                  <a:lnTo>
                    <a:pt x="1914" y="1590"/>
                  </a:lnTo>
                  <a:lnTo>
                    <a:pt x="1875" y="1602"/>
                  </a:lnTo>
                  <a:lnTo>
                    <a:pt x="1836" y="1611"/>
                  </a:lnTo>
                  <a:lnTo>
                    <a:pt x="1796" y="1620"/>
                  </a:lnTo>
                  <a:lnTo>
                    <a:pt x="1805" y="1674"/>
                  </a:lnTo>
                  <a:lnTo>
                    <a:pt x="1813" y="1727"/>
                  </a:lnTo>
                  <a:lnTo>
                    <a:pt x="1819" y="1781"/>
                  </a:lnTo>
                  <a:lnTo>
                    <a:pt x="1826" y="1833"/>
                  </a:lnTo>
                  <a:lnTo>
                    <a:pt x="1832" y="1885"/>
                  </a:lnTo>
                  <a:lnTo>
                    <a:pt x="1838" y="1937"/>
                  </a:lnTo>
                  <a:lnTo>
                    <a:pt x="1843" y="1987"/>
                  </a:lnTo>
                  <a:lnTo>
                    <a:pt x="1847" y="2037"/>
                  </a:lnTo>
                  <a:lnTo>
                    <a:pt x="1891" y="2027"/>
                  </a:lnTo>
                  <a:lnTo>
                    <a:pt x="1935" y="2014"/>
                  </a:lnTo>
                  <a:lnTo>
                    <a:pt x="1977" y="2001"/>
                  </a:lnTo>
                  <a:lnTo>
                    <a:pt x="2020" y="1987"/>
                  </a:lnTo>
                  <a:lnTo>
                    <a:pt x="2061" y="1972"/>
                  </a:lnTo>
                  <a:lnTo>
                    <a:pt x="2102" y="1958"/>
                  </a:lnTo>
                  <a:lnTo>
                    <a:pt x="2141" y="1940"/>
                  </a:lnTo>
                  <a:lnTo>
                    <a:pt x="2179" y="1923"/>
                  </a:lnTo>
                  <a:close/>
                  <a:moveTo>
                    <a:pt x="2088" y="1499"/>
                  </a:moveTo>
                  <a:lnTo>
                    <a:pt x="2071" y="1445"/>
                  </a:lnTo>
                  <a:lnTo>
                    <a:pt x="2053" y="1391"/>
                  </a:lnTo>
                  <a:lnTo>
                    <a:pt x="2035" y="1338"/>
                  </a:lnTo>
                  <a:lnTo>
                    <a:pt x="2015" y="1284"/>
                  </a:lnTo>
                  <a:lnTo>
                    <a:pt x="1995" y="1229"/>
                  </a:lnTo>
                  <a:lnTo>
                    <a:pt x="1973" y="1176"/>
                  </a:lnTo>
                  <a:lnTo>
                    <a:pt x="1950" y="1123"/>
                  </a:lnTo>
                  <a:lnTo>
                    <a:pt x="1927" y="1072"/>
                  </a:lnTo>
                  <a:lnTo>
                    <a:pt x="1900" y="1083"/>
                  </a:lnTo>
                  <a:lnTo>
                    <a:pt x="1874" y="1093"/>
                  </a:lnTo>
                  <a:lnTo>
                    <a:pt x="1846" y="1104"/>
                  </a:lnTo>
                  <a:lnTo>
                    <a:pt x="1818" y="1113"/>
                  </a:lnTo>
                  <a:lnTo>
                    <a:pt x="1790" y="1122"/>
                  </a:lnTo>
                  <a:lnTo>
                    <a:pt x="1761" y="1131"/>
                  </a:lnTo>
                  <a:lnTo>
                    <a:pt x="1731" y="1138"/>
                  </a:lnTo>
                  <a:lnTo>
                    <a:pt x="1701" y="1146"/>
                  </a:lnTo>
                  <a:lnTo>
                    <a:pt x="1703" y="1158"/>
                  </a:lnTo>
                  <a:lnTo>
                    <a:pt x="1707" y="1169"/>
                  </a:lnTo>
                  <a:lnTo>
                    <a:pt x="1709" y="1182"/>
                  </a:lnTo>
                  <a:lnTo>
                    <a:pt x="1712" y="1194"/>
                  </a:lnTo>
                  <a:lnTo>
                    <a:pt x="1724" y="1243"/>
                  </a:lnTo>
                  <a:lnTo>
                    <a:pt x="1734" y="1293"/>
                  </a:lnTo>
                  <a:lnTo>
                    <a:pt x="1745" y="1343"/>
                  </a:lnTo>
                  <a:lnTo>
                    <a:pt x="1755" y="1393"/>
                  </a:lnTo>
                  <a:lnTo>
                    <a:pt x="1765" y="1444"/>
                  </a:lnTo>
                  <a:lnTo>
                    <a:pt x="1775" y="1493"/>
                  </a:lnTo>
                  <a:lnTo>
                    <a:pt x="1784" y="1543"/>
                  </a:lnTo>
                  <a:lnTo>
                    <a:pt x="1792" y="1592"/>
                  </a:lnTo>
                  <a:lnTo>
                    <a:pt x="1831" y="1584"/>
                  </a:lnTo>
                  <a:lnTo>
                    <a:pt x="1870" y="1574"/>
                  </a:lnTo>
                  <a:lnTo>
                    <a:pt x="1908" y="1563"/>
                  </a:lnTo>
                  <a:lnTo>
                    <a:pt x="1945" y="1552"/>
                  </a:lnTo>
                  <a:lnTo>
                    <a:pt x="1982" y="1540"/>
                  </a:lnTo>
                  <a:lnTo>
                    <a:pt x="2018" y="1527"/>
                  </a:lnTo>
                  <a:lnTo>
                    <a:pt x="2053" y="1513"/>
                  </a:lnTo>
                  <a:lnTo>
                    <a:pt x="2088" y="1499"/>
                  </a:lnTo>
                  <a:close/>
                  <a:moveTo>
                    <a:pt x="1914" y="1046"/>
                  </a:moveTo>
                  <a:lnTo>
                    <a:pt x="1907" y="1031"/>
                  </a:lnTo>
                  <a:lnTo>
                    <a:pt x="1899" y="1015"/>
                  </a:lnTo>
                  <a:lnTo>
                    <a:pt x="1877" y="970"/>
                  </a:lnTo>
                  <a:lnTo>
                    <a:pt x="1854" y="926"/>
                  </a:lnTo>
                  <a:lnTo>
                    <a:pt x="1830" y="884"/>
                  </a:lnTo>
                  <a:lnTo>
                    <a:pt x="1806" y="841"/>
                  </a:lnTo>
                  <a:lnTo>
                    <a:pt x="1780" y="798"/>
                  </a:lnTo>
                  <a:lnTo>
                    <a:pt x="1754" y="757"/>
                  </a:lnTo>
                  <a:lnTo>
                    <a:pt x="1727" y="717"/>
                  </a:lnTo>
                  <a:lnTo>
                    <a:pt x="1701" y="678"/>
                  </a:lnTo>
                  <a:lnTo>
                    <a:pt x="1672" y="691"/>
                  </a:lnTo>
                  <a:lnTo>
                    <a:pt x="1643" y="703"/>
                  </a:lnTo>
                  <a:lnTo>
                    <a:pt x="1612" y="714"/>
                  </a:lnTo>
                  <a:lnTo>
                    <a:pt x="1580" y="724"/>
                  </a:lnTo>
                  <a:lnTo>
                    <a:pt x="1596" y="771"/>
                  </a:lnTo>
                  <a:lnTo>
                    <a:pt x="1611" y="818"/>
                  </a:lnTo>
                  <a:lnTo>
                    <a:pt x="1626" y="866"/>
                  </a:lnTo>
                  <a:lnTo>
                    <a:pt x="1640" y="916"/>
                  </a:lnTo>
                  <a:lnTo>
                    <a:pt x="1654" y="966"/>
                  </a:lnTo>
                  <a:lnTo>
                    <a:pt x="1667" y="1016"/>
                  </a:lnTo>
                  <a:lnTo>
                    <a:pt x="1681" y="1068"/>
                  </a:lnTo>
                  <a:lnTo>
                    <a:pt x="1694" y="1120"/>
                  </a:lnTo>
                  <a:lnTo>
                    <a:pt x="1724" y="1113"/>
                  </a:lnTo>
                  <a:lnTo>
                    <a:pt x="1753" y="1105"/>
                  </a:lnTo>
                  <a:lnTo>
                    <a:pt x="1781" y="1097"/>
                  </a:lnTo>
                  <a:lnTo>
                    <a:pt x="1809" y="1088"/>
                  </a:lnTo>
                  <a:lnTo>
                    <a:pt x="1836" y="1078"/>
                  </a:lnTo>
                  <a:lnTo>
                    <a:pt x="1863" y="1068"/>
                  </a:lnTo>
                  <a:lnTo>
                    <a:pt x="1889" y="1058"/>
                  </a:lnTo>
                  <a:lnTo>
                    <a:pt x="1914" y="1046"/>
                  </a:lnTo>
                  <a:close/>
                  <a:moveTo>
                    <a:pt x="1685" y="654"/>
                  </a:moveTo>
                  <a:lnTo>
                    <a:pt x="1657" y="619"/>
                  </a:lnTo>
                  <a:lnTo>
                    <a:pt x="1629" y="582"/>
                  </a:lnTo>
                  <a:lnTo>
                    <a:pt x="1601" y="547"/>
                  </a:lnTo>
                  <a:lnTo>
                    <a:pt x="1572" y="514"/>
                  </a:lnTo>
                  <a:lnTo>
                    <a:pt x="1542" y="482"/>
                  </a:lnTo>
                  <a:lnTo>
                    <a:pt x="1511" y="449"/>
                  </a:lnTo>
                  <a:lnTo>
                    <a:pt x="1481" y="419"/>
                  </a:lnTo>
                  <a:lnTo>
                    <a:pt x="1449" y="391"/>
                  </a:lnTo>
                  <a:lnTo>
                    <a:pt x="1465" y="425"/>
                  </a:lnTo>
                  <a:lnTo>
                    <a:pt x="1481" y="461"/>
                  </a:lnTo>
                  <a:lnTo>
                    <a:pt x="1497" y="498"/>
                  </a:lnTo>
                  <a:lnTo>
                    <a:pt x="1512" y="536"/>
                  </a:lnTo>
                  <a:lnTo>
                    <a:pt x="1527" y="575"/>
                  </a:lnTo>
                  <a:lnTo>
                    <a:pt x="1542" y="614"/>
                  </a:lnTo>
                  <a:lnTo>
                    <a:pt x="1557" y="656"/>
                  </a:lnTo>
                  <a:lnTo>
                    <a:pt x="1572" y="697"/>
                  </a:lnTo>
                  <a:lnTo>
                    <a:pt x="1602" y="689"/>
                  </a:lnTo>
                  <a:lnTo>
                    <a:pt x="1631" y="679"/>
                  </a:lnTo>
                  <a:lnTo>
                    <a:pt x="1658" y="667"/>
                  </a:lnTo>
                  <a:lnTo>
                    <a:pt x="1685" y="654"/>
                  </a:lnTo>
                  <a:close/>
                  <a:moveTo>
                    <a:pt x="946" y="116"/>
                  </a:moveTo>
                  <a:lnTo>
                    <a:pt x="967" y="119"/>
                  </a:lnTo>
                  <a:lnTo>
                    <a:pt x="989" y="122"/>
                  </a:lnTo>
                  <a:lnTo>
                    <a:pt x="1010" y="127"/>
                  </a:lnTo>
                  <a:lnTo>
                    <a:pt x="1030" y="130"/>
                  </a:lnTo>
                  <a:lnTo>
                    <a:pt x="1072" y="142"/>
                  </a:lnTo>
                  <a:lnTo>
                    <a:pt x="1113" y="154"/>
                  </a:lnTo>
                  <a:lnTo>
                    <a:pt x="1140" y="142"/>
                  </a:lnTo>
                  <a:lnTo>
                    <a:pt x="1169" y="129"/>
                  </a:lnTo>
                  <a:lnTo>
                    <a:pt x="1197" y="119"/>
                  </a:lnTo>
                  <a:lnTo>
                    <a:pt x="1229" y="110"/>
                  </a:lnTo>
                  <a:lnTo>
                    <a:pt x="1217" y="99"/>
                  </a:lnTo>
                  <a:lnTo>
                    <a:pt x="1204" y="91"/>
                  </a:lnTo>
                  <a:lnTo>
                    <a:pt x="1193" y="83"/>
                  </a:lnTo>
                  <a:lnTo>
                    <a:pt x="1181" y="76"/>
                  </a:lnTo>
                  <a:lnTo>
                    <a:pt x="1169" y="70"/>
                  </a:lnTo>
                  <a:lnTo>
                    <a:pt x="1157" y="66"/>
                  </a:lnTo>
                  <a:lnTo>
                    <a:pt x="1146" y="62"/>
                  </a:lnTo>
                  <a:lnTo>
                    <a:pt x="1134" y="60"/>
                  </a:lnTo>
                  <a:lnTo>
                    <a:pt x="1109" y="66"/>
                  </a:lnTo>
                  <a:lnTo>
                    <a:pt x="1085" y="72"/>
                  </a:lnTo>
                  <a:lnTo>
                    <a:pt x="1060" y="77"/>
                  </a:lnTo>
                  <a:lnTo>
                    <a:pt x="1037" y="84"/>
                  </a:lnTo>
                  <a:lnTo>
                    <a:pt x="1013" y="92"/>
                  </a:lnTo>
                  <a:lnTo>
                    <a:pt x="990" y="99"/>
                  </a:lnTo>
                  <a:lnTo>
                    <a:pt x="968" y="107"/>
                  </a:lnTo>
                  <a:lnTo>
                    <a:pt x="946" y="116"/>
                  </a:lnTo>
                  <a:close/>
                  <a:moveTo>
                    <a:pt x="1148" y="167"/>
                  </a:moveTo>
                  <a:lnTo>
                    <a:pt x="1177" y="179"/>
                  </a:lnTo>
                  <a:lnTo>
                    <a:pt x="1204" y="191"/>
                  </a:lnTo>
                  <a:lnTo>
                    <a:pt x="1232" y="205"/>
                  </a:lnTo>
                  <a:lnTo>
                    <a:pt x="1258" y="220"/>
                  </a:lnTo>
                  <a:lnTo>
                    <a:pt x="1286" y="235"/>
                  </a:lnTo>
                  <a:lnTo>
                    <a:pt x="1313" y="252"/>
                  </a:lnTo>
                  <a:lnTo>
                    <a:pt x="1339" y="270"/>
                  </a:lnTo>
                  <a:lnTo>
                    <a:pt x="1364" y="288"/>
                  </a:lnTo>
                  <a:lnTo>
                    <a:pt x="1351" y="264"/>
                  </a:lnTo>
                  <a:lnTo>
                    <a:pt x="1336" y="241"/>
                  </a:lnTo>
                  <a:lnTo>
                    <a:pt x="1322" y="219"/>
                  </a:lnTo>
                  <a:lnTo>
                    <a:pt x="1307" y="198"/>
                  </a:lnTo>
                  <a:lnTo>
                    <a:pt x="1293" y="180"/>
                  </a:lnTo>
                  <a:lnTo>
                    <a:pt x="1279" y="163"/>
                  </a:lnTo>
                  <a:lnTo>
                    <a:pt x="1265" y="146"/>
                  </a:lnTo>
                  <a:lnTo>
                    <a:pt x="1252" y="131"/>
                  </a:lnTo>
                  <a:lnTo>
                    <a:pt x="1225" y="139"/>
                  </a:lnTo>
                  <a:lnTo>
                    <a:pt x="1199" y="148"/>
                  </a:lnTo>
                  <a:lnTo>
                    <a:pt x="1173" y="157"/>
                  </a:lnTo>
                  <a:lnTo>
                    <a:pt x="1148" y="167"/>
                  </a:lnTo>
                  <a:close/>
                  <a:moveTo>
                    <a:pt x="2147" y="2558"/>
                  </a:moveTo>
                  <a:lnTo>
                    <a:pt x="2140" y="2569"/>
                  </a:lnTo>
                  <a:lnTo>
                    <a:pt x="2132" y="2582"/>
                  </a:lnTo>
                  <a:lnTo>
                    <a:pt x="2163" y="2562"/>
                  </a:lnTo>
                  <a:lnTo>
                    <a:pt x="2194" y="2542"/>
                  </a:lnTo>
                  <a:lnTo>
                    <a:pt x="2224" y="2520"/>
                  </a:lnTo>
                  <a:lnTo>
                    <a:pt x="2253" y="2498"/>
                  </a:lnTo>
                  <a:lnTo>
                    <a:pt x="2227" y="2513"/>
                  </a:lnTo>
                  <a:lnTo>
                    <a:pt x="2201" y="2528"/>
                  </a:lnTo>
                  <a:lnTo>
                    <a:pt x="2174" y="2543"/>
                  </a:lnTo>
                  <a:lnTo>
                    <a:pt x="2147" y="2558"/>
                  </a:lnTo>
                  <a:close/>
                  <a:moveTo>
                    <a:pt x="2042" y="2664"/>
                  </a:moveTo>
                  <a:lnTo>
                    <a:pt x="2038" y="2666"/>
                  </a:lnTo>
                  <a:lnTo>
                    <a:pt x="2038" y="2666"/>
                  </a:lnTo>
                  <a:lnTo>
                    <a:pt x="2003" y="2683"/>
                  </a:lnTo>
                  <a:lnTo>
                    <a:pt x="1966" y="2699"/>
                  </a:lnTo>
                  <a:lnTo>
                    <a:pt x="1929" y="2714"/>
                  </a:lnTo>
                  <a:lnTo>
                    <a:pt x="1891" y="2729"/>
                  </a:lnTo>
                  <a:lnTo>
                    <a:pt x="1853" y="2742"/>
                  </a:lnTo>
                  <a:lnTo>
                    <a:pt x="1815" y="2755"/>
                  </a:lnTo>
                  <a:lnTo>
                    <a:pt x="1776" y="2766"/>
                  </a:lnTo>
                  <a:lnTo>
                    <a:pt x="1737" y="2776"/>
                  </a:lnTo>
                  <a:lnTo>
                    <a:pt x="1697" y="2785"/>
                  </a:lnTo>
                  <a:lnTo>
                    <a:pt x="1657" y="2793"/>
                  </a:lnTo>
                  <a:lnTo>
                    <a:pt x="1616" y="2800"/>
                  </a:lnTo>
                  <a:lnTo>
                    <a:pt x="1575" y="2804"/>
                  </a:lnTo>
                  <a:lnTo>
                    <a:pt x="1534" y="2809"/>
                  </a:lnTo>
                  <a:lnTo>
                    <a:pt x="1492" y="2812"/>
                  </a:lnTo>
                  <a:lnTo>
                    <a:pt x="1450" y="2814"/>
                  </a:lnTo>
                  <a:lnTo>
                    <a:pt x="1407" y="2815"/>
                  </a:lnTo>
                  <a:lnTo>
                    <a:pt x="1364" y="2814"/>
                  </a:lnTo>
                  <a:lnTo>
                    <a:pt x="1323" y="2812"/>
                  </a:lnTo>
                  <a:lnTo>
                    <a:pt x="1282" y="2809"/>
                  </a:lnTo>
                  <a:lnTo>
                    <a:pt x="1240" y="2804"/>
                  </a:lnTo>
                  <a:lnTo>
                    <a:pt x="1199" y="2800"/>
                  </a:lnTo>
                  <a:lnTo>
                    <a:pt x="1158" y="2793"/>
                  </a:lnTo>
                  <a:lnTo>
                    <a:pt x="1118" y="2785"/>
                  </a:lnTo>
                  <a:lnTo>
                    <a:pt x="1078" y="2776"/>
                  </a:lnTo>
                  <a:lnTo>
                    <a:pt x="1038" y="2766"/>
                  </a:lnTo>
                  <a:lnTo>
                    <a:pt x="999" y="2755"/>
                  </a:lnTo>
                  <a:lnTo>
                    <a:pt x="961" y="2742"/>
                  </a:lnTo>
                  <a:lnTo>
                    <a:pt x="923" y="2729"/>
                  </a:lnTo>
                  <a:lnTo>
                    <a:pt x="885" y="2714"/>
                  </a:lnTo>
                  <a:lnTo>
                    <a:pt x="848" y="2699"/>
                  </a:lnTo>
                  <a:lnTo>
                    <a:pt x="813" y="2683"/>
                  </a:lnTo>
                  <a:lnTo>
                    <a:pt x="777" y="2666"/>
                  </a:lnTo>
                  <a:lnTo>
                    <a:pt x="777" y="2666"/>
                  </a:lnTo>
                  <a:lnTo>
                    <a:pt x="773" y="2664"/>
                  </a:lnTo>
                  <a:lnTo>
                    <a:pt x="724" y="2637"/>
                  </a:lnTo>
                  <a:lnTo>
                    <a:pt x="676" y="2610"/>
                  </a:lnTo>
                  <a:lnTo>
                    <a:pt x="628" y="2580"/>
                  </a:lnTo>
                  <a:lnTo>
                    <a:pt x="582" y="2547"/>
                  </a:lnTo>
                  <a:lnTo>
                    <a:pt x="537" y="2514"/>
                  </a:lnTo>
                  <a:lnTo>
                    <a:pt x="495" y="2478"/>
                  </a:lnTo>
                  <a:lnTo>
                    <a:pt x="453" y="2441"/>
                  </a:lnTo>
                  <a:lnTo>
                    <a:pt x="413" y="2402"/>
                  </a:lnTo>
                  <a:lnTo>
                    <a:pt x="378" y="2367"/>
                  </a:lnTo>
                  <a:lnTo>
                    <a:pt x="345" y="2331"/>
                  </a:lnTo>
                  <a:lnTo>
                    <a:pt x="314" y="2293"/>
                  </a:lnTo>
                  <a:lnTo>
                    <a:pt x="283" y="2254"/>
                  </a:lnTo>
                  <a:lnTo>
                    <a:pt x="254" y="2213"/>
                  </a:lnTo>
                  <a:lnTo>
                    <a:pt x="226" y="2173"/>
                  </a:lnTo>
                  <a:lnTo>
                    <a:pt x="200" y="2130"/>
                  </a:lnTo>
                  <a:lnTo>
                    <a:pt x="176" y="2088"/>
                  </a:lnTo>
                  <a:lnTo>
                    <a:pt x="153" y="2044"/>
                  </a:lnTo>
                  <a:lnTo>
                    <a:pt x="131" y="1999"/>
                  </a:lnTo>
                  <a:lnTo>
                    <a:pt x="110" y="1953"/>
                  </a:lnTo>
                  <a:lnTo>
                    <a:pt x="91" y="1907"/>
                  </a:lnTo>
                  <a:lnTo>
                    <a:pt x="74" y="1860"/>
                  </a:lnTo>
                  <a:lnTo>
                    <a:pt x="59" y="1811"/>
                  </a:lnTo>
                  <a:lnTo>
                    <a:pt x="45" y="1762"/>
                  </a:lnTo>
                  <a:lnTo>
                    <a:pt x="34" y="1712"/>
                  </a:lnTo>
                  <a:lnTo>
                    <a:pt x="30" y="1701"/>
                  </a:lnTo>
                  <a:lnTo>
                    <a:pt x="28" y="1689"/>
                  </a:lnTo>
                  <a:lnTo>
                    <a:pt x="28" y="1689"/>
                  </a:lnTo>
                  <a:lnTo>
                    <a:pt x="22" y="1655"/>
                  </a:lnTo>
                  <a:lnTo>
                    <a:pt x="17" y="1620"/>
                  </a:lnTo>
                  <a:lnTo>
                    <a:pt x="12" y="1585"/>
                  </a:lnTo>
                  <a:lnTo>
                    <a:pt x="7" y="1551"/>
                  </a:lnTo>
                  <a:lnTo>
                    <a:pt x="4" y="1515"/>
                  </a:lnTo>
                  <a:lnTo>
                    <a:pt x="2" y="1479"/>
                  </a:lnTo>
                  <a:lnTo>
                    <a:pt x="0" y="1444"/>
                  </a:lnTo>
                  <a:lnTo>
                    <a:pt x="0" y="1408"/>
                  </a:lnTo>
                  <a:lnTo>
                    <a:pt x="0" y="1371"/>
                  </a:lnTo>
                  <a:lnTo>
                    <a:pt x="3" y="1335"/>
                  </a:lnTo>
                  <a:lnTo>
                    <a:pt x="4" y="1300"/>
                  </a:lnTo>
                  <a:lnTo>
                    <a:pt x="7" y="1264"/>
                  </a:lnTo>
                  <a:lnTo>
                    <a:pt x="12" y="1228"/>
                  </a:lnTo>
                  <a:lnTo>
                    <a:pt x="17" y="1194"/>
                  </a:lnTo>
                  <a:lnTo>
                    <a:pt x="22" y="1159"/>
                  </a:lnTo>
                  <a:lnTo>
                    <a:pt x="29" y="1125"/>
                  </a:lnTo>
                  <a:lnTo>
                    <a:pt x="36" y="1090"/>
                  </a:lnTo>
                  <a:lnTo>
                    <a:pt x="44" y="1057"/>
                  </a:lnTo>
                  <a:lnTo>
                    <a:pt x="53" y="1022"/>
                  </a:lnTo>
                  <a:lnTo>
                    <a:pt x="64" y="990"/>
                  </a:lnTo>
                  <a:lnTo>
                    <a:pt x="74" y="956"/>
                  </a:lnTo>
                  <a:lnTo>
                    <a:pt x="86" y="924"/>
                  </a:lnTo>
                  <a:lnTo>
                    <a:pt x="98" y="892"/>
                  </a:lnTo>
                  <a:lnTo>
                    <a:pt x="111" y="860"/>
                  </a:lnTo>
                  <a:lnTo>
                    <a:pt x="125" y="828"/>
                  </a:lnTo>
                  <a:lnTo>
                    <a:pt x="139" y="797"/>
                  </a:lnTo>
                  <a:lnTo>
                    <a:pt x="155" y="767"/>
                  </a:lnTo>
                  <a:lnTo>
                    <a:pt x="170" y="737"/>
                  </a:lnTo>
                  <a:lnTo>
                    <a:pt x="187" y="707"/>
                  </a:lnTo>
                  <a:lnTo>
                    <a:pt x="204" y="679"/>
                  </a:lnTo>
                  <a:lnTo>
                    <a:pt x="222" y="650"/>
                  </a:lnTo>
                  <a:lnTo>
                    <a:pt x="241" y="621"/>
                  </a:lnTo>
                  <a:lnTo>
                    <a:pt x="260" y="593"/>
                  </a:lnTo>
                  <a:lnTo>
                    <a:pt x="280" y="566"/>
                  </a:lnTo>
                  <a:lnTo>
                    <a:pt x="300" y="539"/>
                  </a:lnTo>
                  <a:lnTo>
                    <a:pt x="322" y="513"/>
                  </a:lnTo>
                  <a:lnTo>
                    <a:pt x="344" y="487"/>
                  </a:lnTo>
                  <a:lnTo>
                    <a:pt x="366" y="462"/>
                  </a:lnTo>
                  <a:lnTo>
                    <a:pt x="389" y="437"/>
                  </a:lnTo>
                  <a:lnTo>
                    <a:pt x="413" y="413"/>
                  </a:lnTo>
                  <a:lnTo>
                    <a:pt x="437" y="389"/>
                  </a:lnTo>
                  <a:lnTo>
                    <a:pt x="461" y="366"/>
                  </a:lnTo>
                  <a:lnTo>
                    <a:pt x="487" y="343"/>
                  </a:lnTo>
                  <a:lnTo>
                    <a:pt x="512" y="322"/>
                  </a:lnTo>
                  <a:lnTo>
                    <a:pt x="538" y="301"/>
                  </a:lnTo>
                  <a:lnTo>
                    <a:pt x="566" y="280"/>
                  </a:lnTo>
                  <a:lnTo>
                    <a:pt x="593" y="260"/>
                  </a:lnTo>
                  <a:lnTo>
                    <a:pt x="620" y="241"/>
                  </a:lnTo>
                  <a:lnTo>
                    <a:pt x="649" y="222"/>
                  </a:lnTo>
                  <a:lnTo>
                    <a:pt x="678" y="204"/>
                  </a:lnTo>
                  <a:lnTo>
                    <a:pt x="707" y="187"/>
                  </a:lnTo>
                  <a:lnTo>
                    <a:pt x="737" y="171"/>
                  </a:lnTo>
                  <a:lnTo>
                    <a:pt x="767" y="154"/>
                  </a:lnTo>
                  <a:lnTo>
                    <a:pt x="798" y="139"/>
                  </a:lnTo>
                  <a:lnTo>
                    <a:pt x="829" y="125"/>
                  </a:lnTo>
                  <a:lnTo>
                    <a:pt x="860" y="111"/>
                  </a:lnTo>
                  <a:lnTo>
                    <a:pt x="891" y="98"/>
                  </a:lnTo>
                  <a:lnTo>
                    <a:pt x="923" y="86"/>
                  </a:lnTo>
                  <a:lnTo>
                    <a:pt x="957" y="75"/>
                  </a:lnTo>
                  <a:lnTo>
                    <a:pt x="989" y="63"/>
                  </a:lnTo>
                  <a:lnTo>
                    <a:pt x="1022" y="54"/>
                  </a:lnTo>
                  <a:lnTo>
                    <a:pt x="1056" y="45"/>
                  </a:lnTo>
                  <a:lnTo>
                    <a:pt x="1089" y="37"/>
                  </a:lnTo>
                  <a:lnTo>
                    <a:pt x="1124" y="29"/>
                  </a:lnTo>
                  <a:lnTo>
                    <a:pt x="1158" y="23"/>
                  </a:lnTo>
                  <a:lnTo>
                    <a:pt x="1193" y="17"/>
                  </a:lnTo>
                  <a:lnTo>
                    <a:pt x="1229" y="12"/>
                  </a:lnTo>
                  <a:lnTo>
                    <a:pt x="1263" y="8"/>
                  </a:lnTo>
                  <a:lnTo>
                    <a:pt x="1299" y="5"/>
                  </a:lnTo>
                  <a:lnTo>
                    <a:pt x="1334" y="2"/>
                  </a:lnTo>
                  <a:lnTo>
                    <a:pt x="1371" y="1"/>
                  </a:lnTo>
                  <a:lnTo>
                    <a:pt x="1407" y="0"/>
                  </a:lnTo>
                  <a:lnTo>
                    <a:pt x="1444" y="1"/>
                  </a:lnTo>
                  <a:lnTo>
                    <a:pt x="1480" y="2"/>
                  </a:lnTo>
                  <a:lnTo>
                    <a:pt x="1515" y="5"/>
                  </a:lnTo>
                  <a:lnTo>
                    <a:pt x="1551" y="8"/>
                  </a:lnTo>
                  <a:lnTo>
                    <a:pt x="1587" y="12"/>
                  </a:lnTo>
                  <a:lnTo>
                    <a:pt x="1621" y="17"/>
                  </a:lnTo>
                  <a:lnTo>
                    <a:pt x="1656" y="23"/>
                  </a:lnTo>
                  <a:lnTo>
                    <a:pt x="1690" y="29"/>
                  </a:lnTo>
                  <a:lnTo>
                    <a:pt x="1725" y="37"/>
                  </a:lnTo>
                  <a:lnTo>
                    <a:pt x="1758" y="45"/>
                  </a:lnTo>
                  <a:lnTo>
                    <a:pt x="1793" y="54"/>
                  </a:lnTo>
                  <a:lnTo>
                    <a:pt x="1825" y="63"/>
                  </a:lnTo>
                  <a:lnTo>
                    <a:pt x="1859" y="75"/>
                  </a:lnTo>
                  <a:lnTo>
                    <a:pt x="1891" y="86"/>
                  </a:lnTo>
                  <a:lnTo>
                    <a:pt x="1923" y="98"/>
                  </a:lnTo>
                  <a:lnTo>
                    <a:pt x="1955" y="111"/>
                  </a:lnTo>
                  <a:lnTo>
                    <a:pt x="1987" y="125"/>
                  </a:lnTo>
                  <a:lnTo>
                    <a:pt x="2018" y="139"/>
                  </a:lnTo>
                  <a:lnTo>
                    <a:pt x="2048" y="154"/>
                  </a:lnTo>
                  <a:lnTo>
                    <a:pt x="2078" y="171"/>
                  </a:lnTo>
                  <a:lnTo>
                    <a:pt x="2107" y="187"/>
                  </a:lnTo>
                  <a:lnTo>
                    <a:pt x="2136" y="204"/>
                  </a:lnTo>
                  <a:lnTo>
                    <a:pt x="2165" y="222"/>
                  </a:lnTo>
                  <a:lnTo>
                    <a:pt x="2194" y="241"/>
                  </a:lnTo>
                  <a:lnTo>
                    <a:pt x="2222" y="260"/>
                  </a:lnTo>
                  <a:lnTo>
                    <a:pt x="2249" y="280"/>
                  </a:lnTo>
                  <a:lnTo>
                    <a:pt x="2276" y="301"/>
                  </a:lnTo>
                  <a:lnTo>
                    <a:pt x="2302" y="322"/>
                  </a:lnTo>
                  <a:lnTo>
                    <a:pt x="2328" y="343"/>
                  </a:lnTo>
                  <a:lnTo>
                    <a:pt x="2353" y="366"/>
                  </a:lnTo>
                  <a:lnTo>
                    <a:pt x="2378" y="389"/>
                  </a:lnTo>
                  <a:lnTo>
                    <a:pt x="2402" y="413"/>
                  </a:lnTo>
                  <a:lnTo>
                    <a:pt x="2425" y="437"/>
                  </a:lnTo>
                  <a:lnTo>
                    <a:pt x="2448" y="462"/>
                  </a:lnTo>
                  <a:lnTo>
                    <a:pt x="2472" y="487"/>
                  </a:lnTo>
                  <a:lnTo>
                    <a:pt x="2493" y="513"/>
                  </a:lnTo>
                  <a:lnTo>
                    <a:pt x="2514" y="539"/>
                  </a:lnTo>
                  <a:lnTo>
                    <a:pt x="2535" y="566"/>
                  </a:lnTo>
                  <a:lnTo>
                    <a:pt x="2554" y="593"/>
                  </a:lnTo>
                  <a:lnTo>
                    <a:pt x="2574" y="621"/>
                  </a:lnTo>
                  <a:lnTo>
                    <a:pt x="2592" y="650"/>
                  </a:lnTo>
                  <a:lnTo>
                    <a:pt x="2611" y="679"/>
                  </a:lnTo>
                  <a:lnTo>
                    <a:pt x="2628" y="707"/>
                  </a:lnTo>
                  <a:lnTo>
                    <a:pt x="2644" y="737"/>
                  </a:lnTo>
                  <a:lnTo>
                    <a:pt x="2660" y="767"/>
                  </a:lnTo>
                  <a:lnTo>
                    <a:pt x="2675" y="797"/>
                  </a:lnTo>
                  <a:lnTo>
                    <a:pt x="2690" y="828"/>
                  </a:lnTo>
                  <a:lnTo>
                    <a:pt x="2704" y="860"/>
                  </a:lnTo>
                  <a:lnTo>
                    <a:pt x="2717" y="892"/>
                  </a:lnTo>
                  <a:lnTo>
                    <a:pt x="2728" y="924"/>
                  </a:lnTo>
                  <a:lnTo>
                    <a:pt x="2740" y="956"/>
                  </a:lnTo>
                  <a:lnTo>
                    <a:pt x="2751" y="990"/>
                  </a:lnTo>
                  <a:lnTo>
                    <a:pt x="2761" y="1022"/>
                  </a:lnTo>
                  <a:lnTo>
                    <a:pt x="2770" y="1057"/>
                  </a:lnTo>
                  <a:lnTo>
                    <a:pt x="2778" y="1090"/>
                  </a:lnTo>
                  <a:lnTo>
                    <a:pt x="2786" y="1125"/>
                  </a:lnTo>
                  <a:lnTo>
                    <a:pt x="2792" y="1159"/>
                  </a:lnTo>
                  <a:lnTo>
                    <a:pt x="2798" y="1194"/>
                  </a:lnTo>
                  <a:lnTo>
                    <a:pt x="2803" y="1228"/>
                  </a:lnTo>
                  <a:lnTo>
                    <a:pt x="2807" y="1264"/>
                  </a:lnTo>
                  <a:lnTo>
                    <a:pt x="2810" y="1300"/>
                  </a:lnTo>
                  <a:lnTo>
                    <a:pt x="2813" y="1335"/>
                  </a:lnTo>
                  <a:lnTo>
                    <a:pt x="2814" y="1371"/>
                  </a:lnTo>
                  <a:lnTo>
                    <a:pt x="2815" y="1408"/>
                  </a:lnTo>
                  <a:lnTo>
                    <a:pt x="2814" y="1444"/>
                  </a:lnTo>
                  <a:lnTo>
                    <a:pt x="2813" y="1481"/>
                  </a:lnTo>
                  <a:lnTo>
                    <a:pt x="2810" y="1516"/>
                  </a:lnTo>
                  <a:lnTo>
                    <a:pt x="2807" y="1552"/>
                  </a:lnTo>
                  <a:lnTo>
                    <a:pt x="2803" y="1587"/>
                  </a:lnTo>
                  <a:lnTo>
                    <a:pt x="2798" y="1622"/>
                  </a:lnTo>
                  <a:lnTo>
                    <a:pt x="2792" y="1657"/>
                  </a:lnTo>
                  <a:lnTo>
                    <a:pt x="2786" y="1691"/>
                  </a:lnTo>
                  <a:lnTo>
                    <a:pt x="2778" y="1726"/>
                  </a:lnTo>
                  <a:lnTo>
                    <a:pt x="2770" y="1759"/>
                  </a:lnTo>
                  <a:lnTo>
                    <a:pt x="2761" y="1793"/>
                  </a:lnTo>
                  <a:lnTo>
                    <a:pt x="2751" y="1826"/>
                  </a:lnTo>
                  <a:lnTo>
                    <a:pt x="2740" y="1858"/>
                  </a:lnTo>
                  <a:lnTo>
                    <a:pt x="2728" y="1892"/>
                  </a:lnTo>
                  <a:lnTo>
                    <a:pt x="2717" y="1924"/>
                  </a:lnTo>
                  <a:lnTo>
                    <a:pt x="2704" y="1955"/>
                  </a:lnTo>
                  <a:lnTo>
                    <a:pt x="2690" y="1986"/>
                  </a:lnTo>
                  <a:lnTo>
                    <a:pt x="2675" y="2017"/>
                  </a:lnTo>
                  <a:lnTo>
                    <a:pt x="2660" y="2049"/>
                  </a:lnTo>
                  <a:lnTo>
                    <a:pt x="2644" y="2078"/>
                  </a:lnTo>
                  <a:lnTo>
                    <a:pt x="2628" y="2108"/>
                  </a:lnTo>
                  <a:lnTo>
                    <a:pt x="2611" y="2137"/>
                  </a:lnTo>
                  <a:lnTo>
                    <a:pt x="2592" y="2166"/>
                  </a:lnTo>
                  <a:lnTo>
                    <a:pt x="2574" y="2195"/>
                  </a:lnTo>
                  <a:lnTo>
                    <a:pt x="2554" y="2222"/>
                  </a:lnTo>
                  <a:lnTo>
                    <a:pt x="2535" y="2249"/>
                  </a:lnTo>
                  <a:lnTo>
                    <a:pt x="2514" y="2277"/>
                  </a:lnTo>
                  <a:lnTo>
                    <a:pt x="2493" y="2303"/>
                  </a:lnTo>
                  <a:lnTo>
                    <a:pt x="2472" y="2328"/>
                  </a:lnTo>
                  <a:lnTo>
                    <a:pt x="2448" y="2354"/>
                  </a:lnTo>
                  <a:lnTo>
                    <a:pt x="2425" y="2378"/>
                  </a:lnTo>
                  <a:lnTo>
                    <a:pt x="2402" y="2402"/>
                  </a:lnTo>
                  <a:lnTo>
                    <a:pt x="2362" y="2441"/>
                  </a:lnTo>
                  <a:lnTo>
                    <a:pt x="2321" y="2478"/>
                  </a:lnTo>
                  <a:lnTo>
                    <a:pt x="2277" y="2514"/>
                  </a:lnTo>
                  <a:lnTo>
                    <a:pt x="2233" y="2547"/>
                  </a:lnTo>
                  <a:lnTo>
                    <a:pt x="2187" y="2580"/>
                  </a:lnTo>
                  <a:lnTo>
                    <a:pt x="2140" y="2610"/>
                  </a:lnTo>
                  <a:lnTo>
                    <a:pt x="2091" y="2637"/>
                  </a:lnTo>
                  <a:lnTo>
                    <a:pt x="2042" y="2664"/>
                  </a:lnTo>
                  <a:close/>
                  <a:moveTo>
                    <a:pt x="1724" y="2750"/>
                  </a:moveTo>
                  <a:lnTo>
                    <a:pt x="1731" y="2746"/>
                  </a:lnTo>
                  <a:lnTo>
                    <a:pt x="1738" y="2739"/>
                  </a:lnTo>
                  <a:lnTo>
                    <a:pt x="1743" y="2732"/>
                  </a:lnTo>
                  <a:lnTo>
                    <a:pt x="1749" y="2725"/>
                  </a:lnTo>
                  <a:lnTo>
                    <a:pt x="1761" y="2708"/>
                  </a:lnTo>
                  <a:lnTo>
                    <a:pt x="1771" y="2688"/>
                  </a:lnTo>
                  <a:lnTo>
                    <a:pt x="1730" y="2696"/>
                  </a:lnTo>
                  <a:lnTo>
                    <a:pt x="1687" y="2703"/>
                  </a:lnTo>
                  <a:lnTo>
                    <a:pt x="1644" y="2710"/>
                  </a:lnTo>
                  <a:lnTo>
                    <a:pt x="1601" y="2714"/>
                  </a:lnTo>
                  <a:lnTo>
                    <a:pt x="1556" y="2719"/>
                  </a:lnTo>
                  <a:lnTo>
                    <a:pt x="1512" y="2723"/>
                  </a:lnTo>
                  <a:lnTo>
                    <a:pt x="1467" y="2725"/>
                  </a:lnTo>
                  <a:lnTo>
                    <a:pt x="1421" y="2725"/>
                  </a:lnTo>
                  <a:lnTo>
                    <a:pt x="1421" y="2787"/>
                  </a:lnTo>
                  <a:lnTo>
                    <a:pt x="1460" y="2786"/>
                  </a:lnTo>
                  <a:lnTo>
                    <a:pt x="1498" y="2785"/>
                  </a:lnTo>
                  <a:lnTo>
                    <a:pt x="1537" y="2781"/>
                  </a:lnTo>
                  <a:lnTo>
                    <a:pt x="1575" y="2777"/>
                  </a:lnTo>
                  <a:lnTo>
                    <a:pt x="1613" y="2772"/>
                  </a:lnTo>
                  <a:lnTo>
                    <a:pt x="1650" y="2766"/>
                  </a:lnTo>
                  <a:lnTo>
                    <a:pt x="1687" y="2758"/>
                  </a:lnTo>
                  <a:lnTo>
                    <a:pt x="1724" y="2750"/>
                  </a:lnTo>
                  <a:close/>
                  <a:moveTo>
                    <a:pt x="1785" y="2657"/>
                  </a:moveTo>
                  <a:lnTo>
                    <a:pt x="1792" y="2635"/>
                  </a:lnTo>
                  <a:lnTo>
                    <a:pt x="1799" y="2612"/>
                  </a:lnTo>
                  <a:lnTo>
                    <a:pt x="1805" y="2587"/>
                  </a:lnTo>
                  <a:lnTo>
                    <a:pt x="1810" y="2560"/>
                  </a:lnTo>
                  <a:lnTo>
                    <a:pt x="1815" y="2531"/>
                  </a:lnTo>
                  <a:lnTo>
                    <a:pt x="1818" y="2501"/>
                  </a:lnTo>
                  <a:lnTo>
                    <a:pt x="1822" y="2471"/>
                  </a:lnTo>
                  <a:lnTo>
                    <a:pt x="1825" y="2438"/>
                  </a:lnTo>
                  <a:lnTo>
                    <a:pt x="1777" y="2448"/>
                  </a:lnTo>
                  <a:lnTo>
                    <a:pt x="1727" y="2456"/>
                  </a:lnTo>
                  <a:lnTo>
                    <a:pt x="1678" y="2463"/>
                  </a:lnTo>
                  <a:lnTo>
                    <a:pt x="1628" y="2469"/>
                  </a:lnTo>
                  <a:lnTo>
                    <a:pt x="1576" y="2474"/>
                  </a:lnTo>
                  <a:lnTo>
                    <a:pt x="1526" y="2477"/>
                  </a:lnTo>
                  <a:lnTo>
                    <a:pt x="1474" y="2479"/>
                  </a:lnTo>
                  <a:lnTo>
                    <a:pt x="1421" y="2481"/>
                  </a:lnTo>
                  <a:lnTo>
                    <a:pt x="1421" y="2698"/>
                  </a:lnTo>
                  <a:lnTo>
                    <a:pt x="1468" y="2697"/>
                  </a:lnTo>
                  <a:lnTo>
                    <a:pt x="1515" y="2695"/>
                  </a:lnTo>
                  <a:lnTo>
                    <a:pt x="1561" y="2691"/>
                  </a:lnTo>
                  <a:lnTo>
                    <a:pt x="1608" y="2687"/>
                  </a:lnTo>
                  <a:lnTo>
                    <a:pt x="1652" y="2681"/>
                  </a:lnTo>
                  <a:lnTo>
                    <a:pt x="1697" y="2674"/>
                  </a:lnTo>
                  <a:lnTo>
                    <a:pt x="1741" y="2666"/>
                  </a:lnTo>
                  <a:lnTo>
                    <a:pt x="1785" y="2657"/>
                  </a:lnTo>
                  <a:close/>
                  <a:moveTo>
                    <a:pt x="1826" y="2410"/>
                  </a:moveTo>
                  <a:lnTo>
                    <a:pt x="1828" y="2400"/>
                  </a:lnTo>
                  <a:lnTo>
                    <a:pt x="1828" y="2390"/>
                  </a:lnTo>
                  <a:lnTo>
                    <a:pt x="1829" y="2378"/>
                  </a:lnTo>
                  <a:lnTo>
                    <a:pt x="1829" y="2368"/>
                  </a:lnTo>
                  <a:lnTo>
                    <a:pt x="1830" y="2333"/>
                  </a:lnTo>
                  <a:lnTo>
                    <a:pt x="1830" y="2299"/>
                  </a:lnTo>
                  <a:lnTo>
                    <a:pt x="1830" y="2263"/>
                  </a:lnTo>
                  <a:lnTo>
                    <a:pt x="1830" y="2226"/>
                  </a:lnTo>
                  <a:lnTo>
                    <a:pt x="1829" y="2188"/>
                  </a:lnTo>
                  <a:lnTo>
                    <a:pt x="1826" y="2150"/>
                  </a:lnTo>
                  <a:lnTo>
                    <a:pt x="1825" y="2111"/>
                  </a:lnTo>
                  <a:lnTo>
                    <a:pt x="1822" y="2070"/>
                  </a:lnTo>
                  <a:lnTo>
                    <a:pt x="1775" y="2081"/>
                  </a:lnTo>
                  <a:lnTo>
                    <a:pt x="1726" y="2089"/>
                  </a:lnTo>
                  <a:lnTo>
                    <a:pt x="1677" y="2096"/>
                  </a:lnTo>
                  <a:lnTo>
                    <a:pt x="1626" y="2103"/>
                  </a:lnTo>
                  <a:lnTo>
                    <a:pt x="1576" y="2107"/>
                  </a:lnTo>
                  <a:lnTo>
                    <a:pt x="1525" y="2111"/>
                  </a:lnTo>
                  <a:lnTo>
                    <a:pt x="1473" y="2113"/>
                  </a:lnTo>
                  <a:lnTo>
                    <a:pt x="1421" y="2114"/>
                  </a:lnTo>
                  <a:lnTo>
                    <a:pt x="1421" y="2453"/>
                  </a:lnTo>
                  <a:lnTo>
                    <a:pt x="1474" y="2453"/>
                  </a:lnTo>
                  <a:lnTo>
                    <a:pt x="1526" y="2451"/>
                  </a:lnTo>
                  <a:lnTo>
                    <a:pt x="1578" y="2446"/>
                  </a:lnTo>
                  <a:lnTo>
                    <a:pt x="1629" y="2441"/>
                  </a:lnTo>
                  <a:lnTo>
                    <a:pt x="1679" y="2436"/>
                  </a:lnTo>
                  <a:lnTo>
                    <a:pt x="1730" y="2429"/>
                  </a:lnTo>
                  <a:lnTo>
                    <a:pt x="1778" y="2420"/>
                  </a:lnTo>
                  <a:lnTo>
                    <a:pt x="1826" y="2410"/>
                  </a:lnTo>
                  <a:close/>
                  <a:moveTo>
                    <a:pt x="1821" y="2043"/>
                  </a:moveTo>
                  <a:lnTo>
                    <a:pt x="1816" y="1993"/>
                  </a:lnTo>
                  <a:lnTo>
                    <a:pt x="1811" y="1943"/>
                  </a:lnTo>
                  <a:lnTo>
                    <a:pt x="1806" y="1892"/>
                  </a:lnTo>
                  <a:lnTo>
                    <a:pt x="1800" y="1839"/>
                  </a:lnTo>
                  <a:lnTo>
                    <a:pt x="1793" y="1787"/>
                  </a:lnTo>
                  <a:lnTo>
                    <a:pt x="1786" y="1733"/>
                  </a:lnTo>
                  <a:lnTo>
                    <a:pt x="1778" y="1680"/>
                  </a:lnTo>
                  <a:lnTo>
                    <a:pt x="1769" y="1626"/>
                  </a:lnTo>
                  <a:lnTo>
                    <a:pt x="1727" y="1633"/>
                  </a:lnTo>
                  <a:lnTo>
                    <a:pt x="1686" y="1640"/>
                  </a:lnTo>
                  <a:lnTo>
                    <a:pt x="1642" y="1645"/>
                  </a:lnTo>
                  <a:lnTo>
                    <a:pt x="1599" y="1651"/>
                  </a:lnTo>
                  <a:lnTo>
                    <a:pt x="1556" y="1655"/>
                  </a:lnTo>
                  <a:lnTo>
                    <a:pt x="1511" y="1658"/>
                  </a:lnTo>
                  <a:lnTo>
                    <a:pt x="1466" y="1659"/>
                  </a:lnTo>
                  <a:lnTo>
                    <a:pt x="1421" y="1660"/>
                  </a:lnTo>
                  <a:lnTo>
                    <a:pt x="1421" y="2087"/>
                  </a:lnTo>
                  <a:lnTo>
                    <a:pt x="1473" y="2085"/>
                  </a:lnTo>
                  <a:lnTo>
                    <a:pt x="1525" y="2083"/>
                  </a:lnTo>
                  <a:lnTo>
                    <a:pt x="1575" y="2080"/>
                  </a:lnTo>
                  <a:lnTo>
                    <a:pt x="1626" y="2075"/>
                  </a:lnTo>
                  <a:lnTo>
                    <a:pt x="1675" y="2068"/>
                  </a:lnTo>
                  <a:lnTo>
                    <a:pt x="1724" y="2061"/>
                  </a:lnTo>
                  <a:lnTo>
                    <a:pt x="1772" y="2053"/>
                  </a:lnTo>
                  <a:lnTo>
                    <a:pt x="1821" y="2043"/>
                  </a:lnTo>
                  <a:close/>
                  <a:moveTo>
                    <a:pt x="1765" y="1598"/>
                  </a:moveTo>
                  <a:lnTo>
                    <a:pt x="1756" y="1549"/>
                  </a:lnTo>
                  <a:lnTo>
                    <a:pt x="1748" y="1499"/>
                  </a:lnTo>
                  <a:lnTo>
                    <a:pt x="1739" y="1449"/>
                  </a:lnTo>
                  <a:lnTo>
                    <a:pt x="1728" y="1399"/>
                  </a:lnTo>
                  <a:lnTo>
                    <a:pt x="1718" y="1349"/>
                  </a:lnTo>
                  <a:lnTo>
                    <a:pt x="1708" y="1300"/>
                  </a:lnTo>
                  <a:lnTo>
                    <a:pt x="1697" y="1250"/>
                  </a:lnTo>
                  <a:lnTo>
                    <a:pt x="1686" y="1201"/>
                  </a:lnTo>
                  <a:lnTo>
                    <a:pt x="1682" y="1188"/>
                  </a:lnTo>
                  <a:lnTo>
                    <a:pt x="1680" y="1175"/>
                  </a:lnTo>
                  <a:lnTo>
                    <a:pt x="1677" y="1164"/>
                  </a:lnTo>
                  <a:lnTo>
                    <a:pt x="1674" y="1151"/>
                  </a:lnTo>
                  <a:lnTo>
                    <a:pt x="1643" y="1157"/>
                  </a:lnTo>
                  <a:lnTo>
                    <a:pt x="1613" y="1163"/>
                  </a:lnTo>
                  <a:lnTo>
                    <a:pt x="1582" y="1166"/>
                  </a:lnTo>
                  <a:lnTo>
                    <a:pt x="1550" y="1171"/>
                  </a:lnTo>
                  <a:lnTo>
                    <a:pt x="1519" y="1173"/>
                  </a:lnTo>
                  <a:lnTo>
                    <a:pt x="1487" y="1175"/>
                  </a:lnTo>
                  <a:lnTo>
                    <a:pt x="1454" y="1176"/>
                  </a:lnTo>
                  <a:lnTo>
                    <a:pt x="1421" y="1178"/>
                  </a:lnTo>
                  <a:lnTo>
                    <a:pt x="1421" y="1633"/>
                  </a:lnTo>
                  <a:lnTo>
                    <a:pt x="1466" y="1631"/>
                  </a:lnTo>
                  <a:lnTo>
                    <a:pt x="1510" y="1630"/>
                  </a:lnTo>
                  <a:lnTo>
                    <a:pt x="1553" y="1627"/>
                  </a:lnTo>
                  <a:lnTo>
                    <a:pt x="1597" y="1623"/>
                  </a:lnTo>
                  <a:lnTo>
                    <a:pt x="1640" y="1619"/>
                  </a:lnTo>
                  <a:lnTo>
                    <a:pt x="1682" y="1613"/>
                  </a:lnTo>
                  <a:lnTo>
                    <a:pt x="1724" y="1606"/>
                  </a:lnTo>
                  <a:lnTo>
                    <a:pt x="1765" y="1598"/>
                  </a:lnTo>
                  <a:close/>
                  <a:moveTo>
                    <a:pt x="1545" y="704"/>
                  </a:moveTo>
                  <a:lnTo>
                    <a:pt x="1530" y="661"/>
                  </a:lnTo>
                  <a:lnTo>
                    <a:pt x="1515" y="620"/>
                  </a:lnTo>
                  <a:lnTo>
                    <a:pt x="1500" y="580"/>
                  </a:lnTo>
                  <a:lnTo>
                    <a:pt x="1484" y="540"/>
                  </a:lnTo>
                  <a:lnTo>
                    <a:pt x="1469" y="502"/>
                  </a:lnTo>
                  <a:lnTo>
                    <a:pt x="1453" y="466"/>
                  </a:lnTo>
                  <a:lnTo>
                    <a:pt x="1437" y="430"/>
                  </a:lnTo>
                  <a:lnTo>
                    <a:pt x="1421" y="395"/>
                  </a:lnTo>
                  <a:lnTo>
                    <a:pt x="1421" y="718"/>
                  </a:lnTo>
                  <a:lnTo>
                    <a:pt x="1453" y="717"/>
                  </a:lnTo>
                  <a:lnTo>
                    <a:pt x="1484" y="713"/>
                  </a:lnTo>
                  <a:lnTo>
                    <a:pt x="1515" y="710"/>
                  </a:lnTo>
                  <a:lnTo>
                    <a:pt x="1545" y="704"/>
                  </a:lnTo>
                  <a:close/>
                  <a:moveTo>
                    <a:pt x="1188" y="50"/>
                  </a:moveTo>
                  <a:lnTo>
                    <a:pt x="1207" y="60"/>
                  </a:lnTo>
                  <a:lnTo>
                    <a:pt x="1225" y="72"/>
                  </a:lnTo>
                  <a:lnTo>
                    <a:pt x="1242" y="85"/>
                  </a:lnTo>
                  <a:lnTo>
                    <a:pt x="1261" y="101"/>
                  </a:lnTo>
                  <a:lnTo>
                    <a:pt x="1293" y="96"/>
                  </a:lnTo>
                  <a:lnTo>
                    <a:pt x="1325" y="91"/>
                  </a:lnTo>
                  <a:lnTo>
                    <a:pt x="1359" y="88"/>
                  </a:lnTo>
                  <a:lnTo>
                    <a:pt x="1393" y="86"/>
                  </a:lnTo>
                  <a:lnTo>
                    <a:pt x="1393" y="32"/>
                  </a:lnTo>
                  <a:lnTo>
                    <a:pt x="1367" y="32"/>
                  </a:lnTo>
                  <a:lnTo>
                    <a:pt x="1341" y="33"/>
                  </a:lnTo>
                  <a:lnTo>
                    <a:pt x="1315" y="35"/>
                  </a:lnTo>
                  <a:lnTo>
                    <a:pt x="1290" y="37"/>
                  </a:lnTo>
                  <a:lnTo>
                    <a:pt x="1264" y="39"/>
                  </a:lnTo>
                  <a:lnTo>
                    <a:pt x="1239" y="43"/>
                  </a:lnTo>
                  <a:lnTo>
                    <a:pt x="1214" y="46"/>
                  </a:lnTo>
                  <a:lnTo>
                    <a:pt x="1188" y="50"/>
                  </a:lnTo>
                  <a:close/>
                  <a:moveTo>
                    <a:pt x="1283" y="125"/>
                  </a:moveTo>
                  <a:lnTo>
                    <a:pt x="1295" y="138"/>
                  </a:lnTo>
                  <a:lnTo>
                    <a:pt x="1307" y="152"/>
                  </a:lnTo>
                  <a:lnTo>
                    <a:pt x="1318" y="167"/>
                  </a:lnTo>
                  <a:lnTo>
                    <a:pt x="1330" y="182"/>
                  </a:lnTo>
                  <a:lnTo>
                    <a:pt x="1346" y="205"/>
                  </a:lnTo>
                  <a:lnTo>
                    <a:pt x="1362" y="230"/>
                  </a:lnTo>
                  <a:lnTo>
                    <a:pt x="1378" y="256"/>
                  </a:lnTo>
                  <a:lnTo>
                    <a:pt x="1393" y="283"/>
                  </a:lnTo>
                  <a:lnTo>
                    <a:pt x="1393" y="113"/>
                  </a:lnTo>
                  <a:lnTo>
                    <a:pt x="1366" y="114"/>
                  </a:lnTo>
                  <a:lnTo>
                    <a:pt x="1337" y="116"/>
                  </a:lnTo>
                  <a:lnTo>
                    <a:pt x="1310" y="120"/>
                  </a:lnTo>
                  <a:lnTo>
                    <a:pt x="1283" y="125"/>
                  </a:lnTo>
                  <a:close/>
                  <a:moveTo>
                    <a:pt x="2281" y="559"/>
                  </a:moveTo>
                  <a:lnTo>
                    <a:pt x="2279" y="544"/>
                  </a:lnTo>
                  <a:lnTo>
                    <a:pt x="2277" y="530"/>
                  </a:lnTo>
                  <a:lnTo>
                    <a:pt x="2275" y="515"/>
                  </a:lnTo>
                  <a:lnTo>
                    <a:pt x="2271" y="501"/>
                  </a:lnTo>
                  <a:lnTo>
                    <a:pt x="2263" y="474"/>
                  </a:lnTo>
                  <a:lnTo>
                    <a:pt x="2253" y="446"/>
                  </a:lnTo>
                  <a:lnTo>
                    <a:pt x="2230" y="434"/>
                  </a:lnTo>
                  <a:lnTo>
                    <a:pt x="2207" y="423"/>
                  </a:lnTo>
                  <a:lnTo>
                    <a:pt x="2184" y="413"/>
                  </a:lnTo>
                  <a:lnTo>
                    <a:pt x="2160" y="403"/>
                  </a:lnTo>
                  <a:lnTo>
                    <a:pt x="2113" y="386"/>
                  </a:lnTo>
                  <a:lnTo>
                    <a:pt x="2066" y="370"/>
                  </a:lnTo>
                  <a:lnTo>
                    <a:pt x="2019" y="356"/>
                  </a:lnTo>
                  <a:lnTo>
                    <a:pt x="1970" y="345"/>
                  </a:lnTo>
                  <a:lnTo>
                    <a:pt x="1922" y="335"/>
                  </a:lnTo>
                  <a:lnTo>
                    <a:pt x="1872" y="328"/>
                  </a:lnTo>
                  <a:lnTo>
                    <a:pt x="1878" y="343"/>
                  </a:lnTo>
                  <a:lnTo>
                    <a:pt x="1883" y="358"/>
                  </a:lnTo>
                  <a:lnTo>
                    <a:pt x="1885" y="373"/>
                  </a:lnTo>
                  <a:lnTo>
                    <a:pt x="1887" y="389"/>
                  </a:lnTo>
                  <a:lnTo>
                    <a:pt x="1942" y="406"/>
                  </a:lnTo>
                  <a:lnTo>
                    <a:pt x="1993" y="423"/>
                  </a:lnTo>
                  <a:lnTo>
                    <a:pt x="2045" y="441"/>
                  </a:lnTo>
                  <a:lnTo>
                    <a:pt x="2095" y="462"/>
                  </a:lnTo>
                  <a:lnTo>
                    <a:pt x="2143" y="484"/>
                  </a:lnTo>
                  <a:lnTo>
                    <a:pt x="2190" y="508"/>
                  </a:lnTo>
                  <a:lnTo>
                    <a:pt x="2237" y="532"/>
                  </a:lnTo>
                  <a:lnTo>
                    <a:pt x="2281" y="559"/>
                  </a:lnTo>
                  <a:close/>
                  <a:moveTo>
                    <a:pt x="1279" y="356"/>
                  </a:moveTo>
                  <a:lnTo>
                    <a:pt x="1237" y="360"/>
                  </a:lnTo>
                  <a:lnTo>
                    <a:pt x="1195" y="364"/>
                  </a:lnTo>
                  <a:lnTo>
                    <a:pt x="1154" y="370"/>
                  </a:lnTo>
                  <a:lnTo>
                    <a:pt x="1112" y="376"/>
                  </a:lnTo>
                  <a:lnTo>
                    <a:pt x="1072" y="384"/>
                  </a:lnTo>
                  <a:lnTo>
                    <a:pt x="1032" y="392"/>
                  </a:lnTo>
                  <a:lnTo>
                    <a:pt x="991" y="401"/>
                  </a:lnTo>
                  <a:lnTo>
                    <a:pt x="952" y="410"/>
                  </a:lnTo>
                  <a:lnTo>
                    <a:pt x="952" y="416"/>
                  </a:lnTo>
                  <a:lnTo>
                    <a:pt x="953" y="433"/>
                  </a:lnTo>
                  <a:lnTo>
                    <a:pt x="955" y="451"/>
                  </a:lnTo>
                  <a:lnTo>
                    <a:pt x="959" y="467"/>
                  </a:lnTo>
                  <a:lnTo>
                    <a:pt x="964" y="484"/>
                  </a:lnTo>
                  <a:lnTo>
                    <a:pt x="1003" y="464"/>
                  </a:lnTo>
                  <a:lnTo>
                    <a:pt x="1041" y="446"/>
                  </a:lnTo>
                  <a:lnTo>
                    <a:pt x="1080" y="429"/>
                  </a:lnTo>
                  <a:lnTo>
                    <a:pt x="1119" y="413"/>
                  </a:lnTo>
                  <a:lnTo>
                    <a:pt x="1159" y="396"/>
                  </a:lnTo>
                  <a:lnTo>
                    <a:pt x="1199" y="381"/>
                  </a:lnTo>
                  <a:lnTo>
                    <a:pt x="1239" y="369"/>
                  </a:lnTo>
                  <a:lnTo>
                    <a:pt x="1279" y="356"/>
                  </a:lnTo>
                  <a:close/>
                  <a:moveTo>
                    <a:pt x="926" y="418"/>
                  </a:moveTo>
                  <a:lnTo>
                    <a:pt x="871" y="434"/>
                  </a:lnTo>
                  <a:lnTo>
                    <a:pt x="820" y="452"/>
                  </a:lnTo>
                  <a:lnTo>
                    <a:pt x="768" y="471"/>
                  </a:lnTo>
                  <a:lnTo>
                    <a:pt x="718" y="493"/>
                  </a:lnTo>
                  <a:lnTo>
                    <a:pt x="670" y="515"/>
                  </a:lnTo>
                  <a:lnTo>
                    <a:pt x="623" y="539"/>
                  </a:lnTo>
                  <a:lnTo>
                    <a:pt x="576" y="565"/>
                  </a:lnTo>
                  <a:lnTo>
                    <a:pt x="533" y="592"/>
                  </a:lnTo>
                  <a:lnTo>
                    <a:pt x="533" y="613"/>
                  </a:lnTo>
                  <a:lnTo>
                    <a:pt x="535" y="634"/>
                  </a:lnTo>
                  <a:lnTo>
                    <a:pt x="538" y="654"/>
                  </a:lnTo>
                  <a:lnTo>
                    <a:pt x="542" y="675"/>
                  </a:lnTo>
                  <a:lnTo>
                    <a:pt x="548" y="695"/>
                  </a:lnTo>
                  <a:lnTo>
                    <a:pt x="555" y="716"/>
                  </a:lnTo>
                  <a:lnTo>
                    <a:pt x="562" y="735"/>
                  </a:lnTo>
                  <a:lnTo>
                    <a:pt x="571" y="755"/>
                  </a:lnTo>
                  <a:lnTo>
                    <a:pt x="593" y="735"/>
                  </a:lnTo>
                  <a:lnTo>
                    <a:pt x="614" y="717"/>
                  </a:lnTo>
                  <a:lnTo>
                    <a:pt x="636" y="698"/>
                  </a:lnTo>
                  <a:lnTo>
                    <a:pt x="659" y="680"/>
                  </a:lnTo>
                  <a:lnTo>
                    <a:pt x="681" y="663"/>
                  </a:lnTo>
                  <a:lnTo>
                    <a:pt x="706" y="645"/>
                  </a:lnTo>
                  <a:lnTo>
                    <a:pt x="729" y="628"/>
                  </a:lnTo>
                  <a:lnTo>
                    <a:pt x="753" y="611"/>
                  </a:lnTo>
                  <a:lnTo>
                    <a:pt x="775" y="596"/>
                  </a:lnTo>
                  <a:lnTo>
                    <a:pt x="798" y="581"/>
                  </a:lnTo>
                  <a:lnTo>
                    <a:pt x="821" y="566"/>
                  </a:lnTo>
                  <a:lnTo>
                    <a:pt x="844" y="551"/>
                  </a:lnTo>
                  <a:lnTo>
                    <a:pt x="868" y="537"/>
                  </a:lnTo>
                  <a:lnTo>
                    <a:pt x="892" y="523"/>
                  </a:lnTo>
                  <a:lnTo>
                    <a:pt x="915" y="509"/>
                  </a:lnTo>
                  <a:lnTo>
                    <a:pt x="939" y="497"/>
                  </a:lnTo>
                  <a:lnTo>
                    <a:pt x="934" y="477"/>
                  </a:lnTo>
                  <a:lnTo>
                    <a:pt x="929" y="457"/>
                  </a:lnTo>
                  <a:lnTo>
                    <a:pt x="927" y="438"/>
                  </a:lnTo>
                  <a:lnTo>
                    <a:pt x="926" y="418"/>
                  </a:lnTo>
                  <a:close/>
                  <a:moveTo>
                    <a:pt x="505" y="610"/>
                  </a:moveTo>
                  <a:lnTo>
                    <a:pt x="485" y="623"/>
                  </a:lnTo>
                  <a:lnTo>
                    <a:pt x="466" y="637"/>
                  </a:lnTo>
                  <a:lnTo>
                    <a:pt x="447" y="651"/>
                  </a:lnTo>
                  <a:lnTo>
                    <a:pt x="428" y="665"/>
                  </a:lnTo>
                  <a:lnTo>
                    <a:pt x="397" y="690"/>
                  </a:lnTo>
                  <a:lnTo>
                    <a:pt x="367" y="717"/>
                  </a:lnTo>
                  <a:lnTo>
                    <a:pt x="338" y="743"/>
                  </a:lnTo>
                  <a:lnTo>
                    <a:pt x="310" y="771"/>
                  </a:lnTo>
                  <a:lnTo>
                    <a:pt x="284" y="798"/>
                  </a:lnTo>
                  <a:lnTo>
                    <a:pt x="259" y="828"/>
                  </a:lnTo>
                  <a:lnTo>
                    <a:pt x="234" y="857"/>
                  </a:lnTo>
                  <a:lnTo>
                    <a:pt x="210" y="888"/>
                  </a:lnTo>
                  <a:lnTo>
                    <a:pt x="212" y="917"/>
                  </a:lnTo>
                  <a:lnTo>
                    <a:pt x="216" y="945"/>
                  </a:lnTo>
                  <a:lnTo>
                    <a:pt x="221" y="974"/>
                  </a:lnTo>
                  <a:lnTo>
                    <a:pt x="226" y="1001"/>
                  </a:lnTo>
                  <a:lnTo>
                    <a:pt x="234" y="1029"/>
                  </a:lnTo>
                  <a:lnTo>
                    <a:pt x="245" y="1057"/>
                  </a:lnTo>
                  <a:lnTo>
                    <a:pt x="255" y="1083"/>
                  </a:lnTo>
                  <a:lnTo>
                    <a:pt x="269" y="1110"/>
                  </a:lnTo>
                  <a:lnTo>
                    <a:pt x="275" y="1099"/>
                  </a:lnTo>
                  <a:lnTo>
                    <a:pt x="282" y="1089"/>
                  </a:lnTo>
                  <a:lnTo>
                    <a:pt x="288" y="1078"/>
                  </a:lnTo>
                  <a:lnTo>
                    <a:pt x="295" y="1068"/>
                  </a:lnTo>
                  <a:lnTo>
                    <a:pt x="322" y="1029"/>
                  </a:lnTo>
                  <a:lnTo>
                    <a:pt x="351" y="990"/>
                  </a:lnTo>
                  <a:lnTo>
                    <a:pt x="381" y="952"/>
                  </a:lnTo>
                  <a:lnTo>
                    <a:pt x="412" y="915"/>
                  </a:lnTo>
                  <a:lnTo>
                    <a:pt x="445" y="878"/>
                  </a:lnTo>
                  <a:lnTo>
                    <a:pt x="479" y="842"/>
                  </a:lnTo>
                  <a:lnTo>
                    <a:pt x="513" y="808"/>
                  </a:lnTo>
                  <a:lnTo>
                    <a:pt x="549" y="773"/>
                  </a:lnTo>
                  <a:lnTo>
                    <a:pt x="540" y="754"/>
                  </a:lnTo>
                  <a:lnTo>
                    <a:pt x="532" y="734"/>
                  </a:lnTo>
                  <a:lnTo>
                    <a:pt x="525" y="714"/>
                  </a:lnTo>
                  <a:lnTo>
                    <a:pt x="519" y="694"/>
                  </a:lnTo>
                  <a:lnTo>
                    <a:pt x="514" y="673"/>
                  </a:lnTo>
                  <a:lnTo>
                    <a:pt x="510" y="652"/>
                  </a:lnTo>
                  <a:lnTo>
                    <a:pt x="507" y="631"/>
                  </a:lnTo>
                  <a:lnTo>
                    <a:pt x="505" y="610"/>
                  </a:lnTo>
                  <a:close/>
                  <a:moveTo>
                    <a:pt x="185" y="924"/>
                  </a:moveTo>
                  <a:lnTo>
                    <a:pt x="165" y="955"/>
                  </a:lnTo>
                  <a:lnTo>
                    <a:pt x="147" y="986"/>
                  </a:lnTo>
                  <a:lnTo>
                    <a:pt x="130" y="1019"/>
                  </a:lnTo>
                  <a:lnTo>
                    <a:pt x="113" y="1051"/>
                  </a:lnTo>
                  <a:lnTo>
                    <a:pt x="98" y="1084"/>
                  </a:lnTo>
                  <a:lnTo>
                    <a:pt x="86" y="1118"/>
                  </a:lnTo>
                  <a:lnTo>
                    <a:pt x="73" y="1152"/>
                  </a:lnTo>
                  <a:lnTo>
                    <a:pt x="63" y="1187"/>
                  </a:lnTo>
                  <a:lnTo>
                    <a:pt x="64" y="1220"/>
                  </a:lnTo>
                  <a:lnTo>
                    <a:pt x="66" y="1254"/>
                  </a:lnTo>
                  <a:lnTo>
                    <a:pt x="71" y="1287"/>
                  </a:lnTo>
                  <a:lnTo>
                    <a:pt x="78" y="1319"/>
                  </a:lnTo>
                  <a:lnTo>
                    <a:pt x="86" y="1351"/>
                  </a:lnTo>
                  <a:lnTo>
                    <a:pt x="95" y="1384"/>
                  </a:lnTo>
                  <a:lnTo>
                    <a:pt x="106" y="1415"/>
                  </a:lnTo>
                  <a:lnTo>
                    <a:pt x="120" y="1446"/>
                  </a:lnTo>
                  <a:lnTo>
                    <a:pt x="131" y="1407"/>
                  </a:lnTo>
                  <a:lnTo>
                    <a:pt x="144" y="1368"/>
                  </a:lnTo>
                  <a:lnTo>
                    <a:pt x="158" y="1327"/>
                  </a:lnTo>
                  <a:lnTo>
                    <a:pt x="174" y="1289"/>
                  </a:lnTo>
                  <a:lnTo>
                    <a:pt x="192" y="1250"/>
                  </a:lnTo>
                  <a:lnTo>
                    <a:pt x="210" y="1212"/>
                  </a:lnTo>
                  <a:lnTo>
                    <a:pt x="231" y="1174"/>
                  </a:lnTo>
                  <a:lnTo>
                    <a:pt x="252" y="1137"/>
                  </a:lnTo>
                  <a:lnTo>
                    <a:pt x="239" y="1112"/>
                  </a:lnTo>
                  <a:lnTo>
                    <a:pt x="226" y="1085"/>
                  </a:lnTo>
                  <a:lnTo>
                    <a:pt x="216" y="1059"/>
                  </a:lnTo>
                  <a:lnTo>
                    <a:pt x="208" y="1034"/>
                  </a:lnTo>
                  <a:lnTo>
                    <a:pt x="200" y="1006"/>
                  </a:lnTo>
                  <a:lnTo>
                    <a:pt x="193" y="979"/>
                  </a:lnTo>
                  <a:lnTo>
                    <a:pt x="188" y="952"/>
                  </a:lnTo>
                  <a:lnTo>
                    <a:pt x="185" y="924"/>
                  </a:lnTo>
                  <a:close/>
                  <a:moveTo>
                    <a:pt x="42" y="1277"/>
                  </a:moveTo>
                  <a:lnTo>
                    <a:pt x="36" y="1313"/>
                  </a:lnTo>
                  <a:lnTo>
                    <a:pt x="32" y="1350"/>
                  </a:lnTo>
                  <a:lnTo>
                    <a:pt x="29" y="1388"/>
                  </a:lnTo>
                  <a:lnTo>
                    <a:pt x="28" y="1426"/>
                  </a:lnTo>
                  <a:lnTo>
                    <a:pt x="28" y="1426"/>
                  </a:lnTo>
                  <a:lnTo>
                    <a:pt x="29" y="1462"/>
                  </a:lnTo>
                  <a:lnTo>
                    <a:pt x="30" y="1498"/>
                  </a:lnTo>
                  <a:lnTo>
                    <a:pt x="34" y="1534"/>
                  </a:lnTo>
                  <a:lnTo>
                    <a:pt x="37" y="1569"/>
                  </a:lnTo>
                  <a:lnTo>
                    <a:pt x="42" y="1605"/>
                  </a:lnTo>
                  <a:lnTo>
                    <a:pt x="48" y="1640"/>
                  </a:lnTo>
                  <a:lnTo>
                    <a:pt x="53" y="1674"/>
                  </a:lnTo>
                  <a:lnTo>
                    <a:pt x="60" y="1709"/>
                  </a:lnTo>
                  <a:lnTo>
                    <a:pt x="67" y="1732"/>
                  </a:lnTo>
                  <a:lnTo>
                    <a:pt x="75" y="1756"/>
                  </a:lnTo>
                  <a:lnTo>
                    <a:pt x="83" y="1778"/>
                  </a:lnTo>
                  <a:lnTo>
                    <a:pt x="93" y="1801"/>
                  </a:lnTo>
                  <a:lnTo>
                    <a:pt x="89" y="1762"/>
                  </a:lnTo>
                  <a:lnTo>
                    <a:pt x="87" y="1722"/>
                  </a:lnTo>
                  <a:lnTo>
                    <a:pt x="87" y="1683"/>
                  </a:lnTo>
                  <a:lnTo>
                    <a:pt x="88" y="1644"/>
                  </a:lnTo>
                  <a:lnTo>
                    <a:pt x="91" y="1605"/>
                  </a:lnTo>
                  <a:lnTo>
                    <a:pt x="96" y="1566"/>
                  </a:lnTo>
                  <a:lnTo>
                    <a:pt x="102" y="1527"/>
                  </a:lnTo>
                  <a:lnTo>
                    <a:pt x="110" y="1489"/>
                  </a:lnTo>
                  <a:lnTo>
                    <a:pt x="97" y="1463"/>
                  </a:lnTo>
                  <a:lnTo>
                    <a:pt x="86" y="1437"/>
                  </a:lnTo>
                  <a:lnTo>
                    <a:pt x="75" y="1411"/>
                  </a:lnTo>
                  <a:lnTo>
                    <a:pt x="67" y="1385"/>
                  </a:lnTo>
                  <a:lnTo>
                    <a:pt x="59" y="1358"/>
                  </a:lnTo>
                  <a:lnTo>
                    <a:pt x="52" y="1331"/>
                  </a:lnTo>
                  <a:lnTo>
                    <a:pt x="47" y="1304"/>
                  </a:lnTo>
                  <a:lnTo>
                    <a:pt x="42" y="1277"/>
                  </a:lnTo>
                  <a:close/>
                  <a:moveTo>
                    <a:pt x="1540" y="328"/>
                  </a:moveTo>
                  <a:lnTo>
                    <a:pt x="1581" y="332"/>
                  </a:lnTo>
                  <a:lnTo>
                    <a:pt x="1622" y="336"/>
                  </a:lnTo>
                  <a:lnTo>
                    <a:pt x="1663" y="342"/>
                  </a:lnTo>
                  <a:lnTo>
                    <a:pt x="1703" y="348"/>
                  </a:lnTo>
                  <a:lnTo>
                    <a:pt x="1743" y="355"/>
                  </a:lnTo>
                  <a:lnTo>
                    <a:pt x="1783" y="363"/>
                  </a:lnTo>
                  <a:lnTo>
                    <a:pt x="1821" y="372"/>
                  </a:lnTo>
                  <a:lnTo>
                    <a:pt x="1859" y="381"/>
                  </a:lnTo>
                  <a:lnTo>
                    <a:pt x="1856" y="366"/>
                  </a:lnTo>
                  <a:lnTo>
                    <a:pt x="1852" y="353"/>
                  </a:lnTo>
                  <a:lnTo>
                    <a:pt x="1847" y="339"/>
                  </a:lnTo>
                  <a:lnTo>
                    <a:pt x="1841" y="325"/>
                  </a:lnTo>
                  <a:lnTo>
                    <a:pt x="1803" y="322"/>
                  </a:lnTo>
                  <a:lnTo>
                    <a:pt x="1766" y="319"/>
                  </a:lnTo>
                  <a:lnTo>
                    <a:pt x="1728" y="318"/>
                  </a:lnTo>
                  <a:lnTo>
                    <a:pt x="1690" y="318"/>
                  </a:lnTo>
                  <a:lnTo>
                    <a:pt x="1654" y="319"/>
                  </a:lnTo>
                  <a:lnTo>
                    <a:pt x="1616" y="322"/>
                  </a:lnTo>
                  <a:lnTo>
                    <a:pt x="1578" y="325"/>
                  </a:lnTo>
                  <a:lnTo>
                    <a:pt x="1540" y="328"/>
                  </a:lnTo>
                  <a:close/>
                  <a:moveTo>
                    <a:pt x="2309" y="577"/>
                  </a:moveTo>
                  <a:lnTo>
                    <a:pt x="2333" y="593"/>
                  </a:lnTo>
                  <a:lnTo>
                    <a:pt x="2357" y="610"/>
                  </a:lnTo>
                  <a:lnTo>
                    <a:pt x="2381" y="627"/>
                  </a:lnTo>
                  <a:lnTo>
                    <a:pt x="2404" y="644"/>
                  </a:lnTo>
                  <a:lnTo>
                    <a:pt x="2431" y="666"/>
                  </a:lnTo>
                  <a:lnTo>
                    <a:pt x="2459" y="689"/>
                  </a:lnTo>
                  <a:lnTo>
                    <a:pt x="2484" y="713"/>
                  </a:lnTo>
                  <a:lnTo>
                    <a:pt x="2510" y="737"/>
                  </a:lnTo>
                  <a:lnTo>
                    <a:pt x="2535" y="763"/>
                  </a:lnTo>
                  <a:lnTo>
                    <a:pt x="2558" y="788"/>
                  </a:lnTo>
                  <a:lnTo>
                    <a:pt x="2581" y="815"/>
                  </a:lnTo>
                  <a:lnTo>
                    <a:pt x="2603" y="841"/>
                  </a:lnTo>
                  <a:lnTo>
                    <a:pt x="2601" y="824"/>
                  </a:lnTo>
                  <a:lnTo>
                    <a:pt x="2598" y="807"/>
                  </a:lnTo>
                  <a:lnTo>
                    <a:pt x="2596" y="789"/>
                  </a:lnTo>
                  <a:lnTo>
                    <a:pt x="2592" y="772"/>
                  </a:lnTo>
                  <a:lnTo>
                    <a:pt x="2588" y="755"/>
                  </a:lnTo>
                  <a:lnTo>
                    <a:pt x="2583" y="739"/>
                  </a:lnTo>
                  <a:lnTo>
                    <a:pt x="2579" y="721"/>
                  </a:lnTo>
                  <a:lnTo>
                    <a:pt x="2573" y="705"/>
                  </a:lnTo>
                  <a:lnTo>
                    <a:pt x="2568" y="694"/>
                  </a:lnTo>
                  <a:lnTo>
                    <a:pt x="2564" y="683"/>
                  </a:lnTo>
                  <a:lnTo>
                    <a:pt x="2531" y="650"/>
                  </a:lnTo>
                  <a:lnTo>
                    <a:pt x="2498" y="619"/>
                  </a:lnTo>
                  <a:lnTo>
                    <a:pt x="2465" y="589"/>
                  </a:lnTo>
                  <a:lnTo>
                    <a:pt x="2431" y="561"/>
                  </a:lnTo>
                  <a:lnTo>
                    <a:pt x="2397" y="535"/>
                  </a:lnTo>
                  <a:lnTo>
                    <a:pt x="2361" y="510"/>
                  </a:lnTo>
                  <a:lnTo>
                    <a:pt x="2325" y="487"/>
                  </a:lnTo>
                  <a:lnTo>
                    <a:pt x="2288" y="466"/>
                  </a:lnTo>
                  <a:lnTo>
                    <a:pt x="2296" y="493"/>
                  </a:lnTo>
                  <a:lnTo>
                    <a:pt x="2303" y="521"/>
                  </a:lnTo>
                  <a:lnTo>
                    <a:pt x="2307" y="548"/>
                  </a:lnTo>
                  <a:lnTo>
                    <a:pt x="2309" y="577"/>
                  </a:lnTo>
                  <a:close/>
                  <a:moveTo>
                    <a:pt x="2632" y="879"/>
                  </a:moveTo>
                  <a:lnTo>
                    <a:pt x="2648" y="902"/>
                  </a:lnTo>
                  <a:lnTo>
                    <a:pt x="2664" y="926"/>
                  </a:lnTo>
                  <a:lnTo>
                    <a:pt x="2678" y="951"/>
                  </a:lnTo>
                  <a:lnTo>
                    <a:pt x="2693" y="975"/>
                  </a:lnTo>
                  <a:lnTo>
                    <a:pt x="2707" y="999"/>
                  </a:lnTo>
                  <a:lnTo>
                    <a:pt x="2719" y="1024"/>
                  </a:lnTo>
                  <a:lnTo>
                    <a:pt x="2731" y="1050"/>
                  </a:lnTo>
                  <a:lnTo>
                    <a:pt x="2742" y="1075"/>
                  </a:lnTo>
                  <a:lnTo>
                    <a:pt x="2739" y="1060"/>
                  </a:lnTo>
                  <a:lnTo>
                    <a:pt x="2735" y="1045"/>
                  </a:lnTo>
                  <a:lnTo>
                    <a:pt x="2732" y="1029"/>
                  </a:lnTo>
                  <a:lnTo>
                    <a:pt x="2727" y="1014"/>
                  </a:lnTo>
                  <a:lnTo>
                    <a:pt x="2730" y="1014"/>
                  </a:lnTo>
                  <a:lnTo>
                    <a:pt x="2718" y="978"/>
                  </a:lnTo>
                  <a:lnTo>
                    <a:pt x="2707" y="942"/>
                  </a:lnTo>
                  <a:lnTo>
                    <a:pt x="2694" y="908"/>
                  </a:lnTo>
                  <a:lnTo>
                    <a:pt x="2680" y="873"/>
                  </a:lnTo>
                  <a:lnTo>
                    <a:pt x="2665" y="840"/>
                  </a:lnTo>
                  <a:lnTo>
                    <a:pt x="2649" y="807"/>
                  </a:lnTo>
                  <a:lnTo>
                    <a:pt x="2633" y="773"/>
                  </a:lnTo>
                  <a:lnTo>
                    <a:pt x="2616" y="741"/>
                  </a:lnTo>
                  <a:lnTo>
                    <a:pt x="2612" y="736"/>
                  </a:lnTo>
                  <a:lnTo>
                    <a:pt x="2616" y="754"/>
                  </a:lnTo>
                  <a:lnTo>
                    <a:pt x="2620" y="771"/>
                  </a:lnTo>
                  <a:lnTo>
                    <a:pt x="2624" y="788"/>
                  </a:lnTo>
                  <a:lnTo>
                    <a:pt x="2626" y="807"/>
                  </a:lnTo>
                  <a:lnTo>
                    <a:pt x="2628" y="824"/>
                  </a:lnTo>
                  <a:lnTo>
                    <a:pt x="2630" y="841"/>
                  </a:lnTo>
                  <a:lnTo>
                    <a:pt x="2632" y="860"/>
                  </a:lnTo>
                  <a:lnTo>
                    <a:pt x="2632" y="878"/>
                  </a:lnTo>
                  <a:lnTo>
                    <a:pt x="2632" y="879"/>
                  </a:lnTo>
                  <a:close/>
                  <a:moveTo>
                    <a:pt x="2233" y="406"/>
                  </a:moveTo>
                  <a:lnTo>
                    <a:pt x="2223" y="388"/>
                  </a:lnTo>
                  <a:lnTo>
                    <a:pt x="2212" y="371"/>
                  </a:lnTo>
                  <a:lnTo>
                    <a:pt x="2200" y="354"/>
                  </a:lnTo>
                  <a:lnTo>
                    <a:pt x="2187" y="338"/>
                  </a:lnTo>
                  <a:lnTo>
                    <a:pt x="2174" y="322"/>
                  </a:lnTo>
                  <a:lnTo>
                    <a:pt x="2160" y="307"/>
                  </a:lnTo>
                  <a:lnTo>
                    <a:pt x="2146" y="290"/>
                  </a:lnTo>
                  <a:lnTo>
                    <a:pt x="2129" y="275"/>
                  </a:lnTo>
                  <a:lnTo>
                    <a:pt x="2091" y="264"/>
                  </a:lnTo>
                  <a:lnTo>
                    <a:pt x="2052" y="254"/>
                  </a:lnTo>
                  <a:lnTo>
                    <a:pt x="2013" y="247"/>
                  </a:lnTo>
                  <a:lnTo>
                    <a:pt x="1973" y="241"/>
                  </a:lnTo>
                  <a:lnTo>
                    <a:pt x="1934" y="237"/>
                  </a:lnTo>
                  <a:lnTo>
                    <a:pt x="1893" y="235"/>
                  </a:lnTo>
                  <a:lnTo>
                    <a:pt x="1854" y="235"/>
                  </a:lnTo>
                  <a:lnTo>
                    <a:pt x="1814" y="237"/>
                  </a:lnTo>
                  <a:lnTo>
                    <a:pt x="1826" y="252"/>
                  </a:lnTo>
                  <a:lnTo>
                    <a:pt x="1838" y="267"/>
                  </a:lnTo>
                  <a:lnTo>
                    <a:pt x="1849" y="282"/>
                  </a:lnTo>
                  <a:lnTo>
                    <a:pt x="1859" y="298"/>
                  </a:lnTo>
                  <a:lnTo>
                    <a:pt x="1907" y="305"/>
                  </a:lnTo>
                  <a:lnTo>
                    <a:pt x="1954" y="313"/>
                  </a:lnTo>
                  <a:lnTo>
                    <a:pt x="2002" y="324"/>
                  </a:lnTo>
                  <a:lnTo>
                    <a:pt x="2049" y="336"/>
                  </a:lnTo>
                  <a:lnTo>
                    <a:pt x="2096" y="350"/>
                  </a:lnTo>
                  <a:lnTo>
                    <a:pt x="2142" y="366"/>
                  </a:lnTo>
                  <a:lnTo>
                    <a:pt x="2188" y="385"/>
                  </a:lnTo>
                  <a:lnTo>
                    <a:pt x="2233" y="406"/>
                  </a:lnTo>
                  <a:close/>
                  <a:moveTo>
                    <a:pt x="1522" y="303"/>
                  </a:moveTo>
                  <a:lnTo>
                    <a:pt x="1560" y="298"/>
                  </a:lnTo>
                  <a:lnTo>
                    <a:pt x="1598" y="295"/>
                  </a:lnTo>
                  <a:lnTo>
                    <a:pt x="1635" y="293"/>
                  </a:lnTo>
                  <a:lnTo>
                    <a:pt x="1673" y="292"/>
                  </a:lnTo>
                  <a:lnTo>
                    <a:pt x="1711" y="290"/>
                  </a:lnTo>
                  <a:lnTo>
                    <a:pt x="1749" y="292"/>
                  </a:lnTo>
                  <a:lnTo>
                    <a:pt x="1787" y="293"/>
                  </a:lnTo>
                  <a:lnTo>
                    <a:pt x="1824" y="295"/>
                  </a:lnTo>
                  <a:lnTo>
                    <a:pt x="1815" y="281"/>
                  </a:lnTo>
                  <a:lnTo>
                    <a:pt x="1803" y="267"/>
                  </a:lnTo>
                  <a:lnTo>
                    <a:pt x="1791" y="254"/>
                  </a:lnTo>
                  <a:lnTo>
                    <a:pt x="1778" y="241"/>
                  </a:lnTo>
                  <a:lnTo>
                    <a:pt x="1746" y="244"/>
                  </a:lnTo>
                  <a:lnTo>
                    <a:pt x="1714" y="250"/>
                  </a:lnTo>
                  <a:lnTo>
                    <a:pt x="1682" y="257"/>
                  </a:lnTo>
                  <a:lnTo>
                    <a:pt x="1650" y="264"/>
                  </a:lnTo>
                  <a:lnTo>
                    <a:pt x="1618" y="272"/>
                  </a:lnTo>
                  <a:lnTo>
                    <a:pt x="1586" y="281"/>
                  </a:lnTo>
                  <a:lnTo>
                    <a:pt x="1553" y="293"/>
                  </a:lnTo>
                  <a:lnTo>
                    <a:pt x="1522" y="303"/>
                  </a:lnTo>
                  <a:close/>
                  <a:moveTo>
                    <a:pt x="2273" y="425"/>
                  </a:moveTo>
                  <a:lnTo>
                    <a:pt x="2306" y="444"/>
                  </a:lnTo>
                  <a:lnTo>
                    <a:pt x="2338" y="462"/>
                  </a:lnTo>
                  <a:lnTo>
                    <a:pt x="2369" y="483"/>
                  </a:lnTo>
                  <a:lnTo>
                    <a:pt x="2400" y="504"/>
                  </a:lnTo>
                  <a:lnTo>
                    <a:pt x="2431" y="527"/>
                  </a:lnTo>
                  <a:lnTo>
                    <a:pt x="2462" y="551"/>
                  </a:lnTo>
                  <a:lnTo>
                    <a:pt x="2492" y="576"/>
                  </a:lnTo>
                  <a:lnTo>
                    <a:pt x="2521" y="603"/>
                  </a:lnTo>
                  <a:lnTo>
                    <a:pt x="2511" y="586"/>
                  </a:lnTo>
                  <a:lnTo>
                    <a:pt x="2500" y="572"/>
                  </a:lnTo>
                  <a:lnTo>
                    <a:pt x="2490" y="557"/>
                  </a:lnTo>
                  <a:lnTo>
                    <a:pt x="2478" y="542"/>
                  </a:lnTo>
                  <a:lnTo>
                    <a:pt x="2480" y="540"/>
                  </a:lnTo>
                  <a:lnTo>
                    <a:pt x="2457" y="512"/>
                  </a:lnTo>
                  <a:lnTo>
                    <a:pt x="2432" y="485"/>
                  </a:lnTo>
                  <a:lnTo>
                    <a:pt x="2408" y="459"/>
                  </a:lnTo>
                  <a:lnTo>
                    <a:pt x="2383" y="432"/>
                  </a:lnTo>
                  <a:lnTo>
                    <a:pt x="2364" y="414"/>
                  </a:lnTo>
                  <a:lnTo>
                    <a:pt x="2345" y="396"/>
                  </a:lnTo>
                  <a:lnTo>
                    <a:pt x="2325" y="378"/>
                  </a:lnTo>
                  <a:lnTo>
                    <a:pt x="2306" y="361"/>
                  </a:lnTo>
                  <a:lnTo>
                    <a:pt x="2306" y="361"/>
                  </a:lnTo>
                  <a:lnTo>
                    <a:pt x="2277" y="343"/>
                  </a:lnTo>
                  <a:lnTo>
                    <a:pt x="2248" y="327"/>
                  </a:lnTo>
                  <a:lnTo>
                    <a:pt x="2219" y="312"/>
                  </a:lnTo>
                  <a:lnTo>
                    <a:pt x="2189" y="298"/>
                  </a:lnTo>
                  <a:lnTo>
                    <a:pt x="2202" y="313"/>
                  </a:lnTo>
                  <a:lnTo>
                    <a:pt x="2215" y="328"/>
                  </a:lnTo>
                  <a:lnTo>
                    <a:pt x="2226" y="345"/>
                  </a:lnTo>
                  <a:lnTo>
                    <a:pt x="2237" y="361"/>
                  </a:lnTo>
                  <a:lnTo>
                    <a:pt x="2247" y="376"/>
                  </a:lnTo>
                  <a:lnTo>
                    <a:pt x="2256" y="393"/>
                  </a:lnTo>
                  <a:lnTo>
                    <a:pt x="2265" y="409"/>
                  </a:lnTo>
                  <a:lnTo>
                    <a:pt x="2273" y="425"/>
                  </a:lnTo>
                  <a:close/>
                  <a:moveTo>
                    <a:pt x="1300" y="378"/>
                  </a:moveTo>
                  <a:lnTo>
                    <a:pt x="1257" y="391"/>
                  </a:lnTo>
                  <a:lnTo>
                    <a:pt x="1216" y="404"/>
                  </a:lnTo>
                  <a:lnTo>
                    <a:pt x="1176" y="419"/>
                  </a:lnTo>
                  <a:lnTo>
                    <a:pt x="1134" y="436"/>
                  </a:lnTo>
                  <a:lnTo>
                    <a:pt x="1094" y="452"/>
                  </a:lnTo>
                  <a:lnTo>
                    <a:pt x="1053" y="470"/>
                  </a:lnTo>
                  <a:lnTo>
                    <a:pt x="1014" y="489"/>
                  </a:lnTo>
                  <a:lnTo>
                    <a:pt x="975" y="508"/>
                  </a:lnTo>
                  <a:lnTo>
                    <a:pt x="984" y="525"/>
                  </a:lnTo>
                  <a:lnTo>
                    <a:pt x="995" y="543"/>
                  </a:lnTo>
                  <a:lnTo>
                    <a:pt x="1007" y="559"/>
                  </a:lnTo>
                  <a:lnTo>
                    <a:pt x="1021" y="575"/>
                  </a:lnTo>
                  <a:lnTo>
                    <a:pt x="1043" y="557"/>
                  </a:lnTo>
                  <a:lnTo>
                    <a:pt x="1065" y="538"/>
                  </a:lnTo>
                  <a:lnTo>
                    <a:pt x="1088" y="520"/>
                  </a:lnTo>
                  <a:lnTo>
                    <a:pt x="1111" y="502"/>
                  </a:lnTo>
                  <a:lnTo>
                    <a:pt x="1134" y="486"/>
                  </a:lnTo>
                  <a:lnTo>
                    <a:pt x="1157" y="469"/>
                  </a:lnTo>
                  <a:lnTo>
                    <a:pt x="1180" y="453"/>
                  </a:lnTo>
                  <a:lnTo>
                    <a:pt x="1203" y="438"/>
                  </a:lnTo>
                  <a:lnTo>
                    <a:pt x="1227" y="422"/>
                  </a:lnTo>
                  <a:lnTo>
                    <a:pt x="1252" y="407"/>
                  </a:lnTo>
                  <a:lnTo>
                    <a:pt x="1276" y="393"/>
                  </a:lnTo>
                  <a:lnTo>
                    <a:pt x="1300" y="378"/>
                  </a:lnTo>
                  <a:close/>
                  <a:moveTo>
                    <a:pt x="951" y="522"/>
                  </a:moveTo>
                  <a:lnTo>
                    <a:pt x="927" y="535"/>
                  </a:lnTo>
                  <a:lnTo>
                    <a:pt x="904" y="547"/>
                  </a:lnTo>
                  <a:lnTo>
                    <a:pt x="881" y="561"/>
                  </a:lnTo>
                  <a:lnTo>
                    <a:pt x="858" y="575"/>
                  </a:lnTo>
                  <a:lnTo>
                    <a:pt x="835" y="589"/>
                  </a:lnTo>
                  <a:lnTo>
                    <a:pt x="813" y="604"/>
                  </a:lnTo>
                  <a:lnTo>
                    <a:pt x="790" y="619"/>
                  </a:lnTo>
                  <a:lnTo>
                    <a:pt x="768" y="634"/>
                  </a:lnTo>
                  <a:lnTo>
                    <a:pt x="744" y="650"/>
                  </a:lnTo>
                  <a:lnTo>
                    <a:pt x="719" y="668"/>
                  </a:lnTo>
                  <a:lnTo>
                    <a:pt x="696" y="686"/>
                  </a:lnTo>
                  <a:lnTo>
                    <a:pt x="673" y="704"/>
                  </a:lnTo>
                  <a:lnTo>
                    <a:pt x="650" y="722"/>
                  </a:lnTo>
                  <a:lnTo>
                    <a:pt x="627" y="741"/>
                  </a:lnTo>
                  <a:lnTo>
                    <a:pt x="605" y="760"/>
                  </a:lnTo>
                  <a:lnTo>
                    <a:pt x="583" y="779"/>
                  </a:lnTo>
                  <a:lnTo>
                    <a:pt x="594" y="797"/>
                  </a:lnTo>
                  <a:lnTo>
                    <a:pt x="605" y="815"/>
                  </a:lnTo>
                  <a:lnTo>
                    <a:pt x="618" y="832"/>
                  </a:lnTo>
                  <a:lnTo>
                    <a:pt x="632" y="849"/>
                  </a:lnTo>
                  <a:lnTo>
                    <a:pt x="646" y="865"/>
                  </a:lnTo>
                  <a:lnTo>
                    <a:pt x="661" y="883"/>
                  </a:lnTo>
                  <a:lnTo>
                    <a:pt x="677" y="898"/>
                  </a:lnTo>
                  <a:lnTo>
                    <a:pt x="693" y="914"/>
                  </a:lnTo>
                  <a:lnTo>
                    <a:pt x="729" y="870"/>
                  </a:lnTo>
                  <a:lnTo>
                    <a:pt x="764" y="827"/>
                  </a:lnTo>
                  <a:lnTo>
                    <a:pt x="801" y="786"/>
                  </a:lnTo>
                  <a:lnTo>
                    <a:pt x="839" y="745"/>
                  </a:lnTo>
                  <a:lnTo>
                    <a:pt x="878" y="705"/>
                  </a:lnTo>
                  <a:lnTo>
                    <a:pt x="919" y="666"/>
                  </a:lnTo>
                  <a:lnTo>
                    <a:pt x="959" y="629"/>
                  </a:lnTo>
                  <a:lnTo>
                    <a:pt x="1000" y="592"/>
                  </a:lnTo>
                  <a:lnTo>
                    <a:pt x="985" y="575"/>
                  </a:lnTo>
                  <a:lnTo>
                    <a:pt x="972" y="558"/>
                  </a:lnTo>
                  <a:lnTo>
                    <a:pt x="960" y="540"/>
                  </a:lnTo>
                  <a:lnTo>
                    <a:pt x="951" y="522"/>
                  </a:lnTo>
                  <a:close/>
                  <a:moveTo>
                    <a:pt x="563" y="798"/>
                  </a:moveTo>
                  <a:lnTo>
                    <a:pt x="528" y="832"/>
                  </a:lnTo>
                  <a:lnTo>
                    <a:pt x="495" y="865"/>
                  </a:lnTo>
                  <a:lnTo>
                    <a:pt x="462" y="900"/>
                  </a:lnTo>
                  <a:lnTo>
                    <a:pt x="430" y="936"/>
                  </a:lnTo>
                  <a:lnTo>
                    <a:pt x="400" y="971"/>
                  </a:lnTo>
                  <a:lnTo>
                    <a:pt x="371" y="1008"/>
                  </a:lnTo>
                  <a:lnTo>
                    <a:pt x="344" y="1045"/>
                  </a:lnTo>
                  <a:lnTo>
                    <a:pt x="318" y="1083"/>
                  </a:lnTo>
                  <a:lnTo>
                    <a:pt x="309" y="1096"/>
                  </a:lnTo>
                  <a:lnTo>
                    <a:pt x="300" y="1110"/>
                  </a:lnTo>
                  <a:lnTo>
                    <a:pt x="292" y="1123"/>
                  </a:lnTo>
                  <a:lnTo>
                    <a:pt x="284" y="1137"/>
                  </a:lnTo>
                  <a:lnTo>
                    <a:pt x="298" y="1161"/>
                  </a:lnTo>
                  <a:lnTo>
                    <a:pt x="314" y="1184"/>
                  </a:lnTo>
                  <a:lnTo>
                    <a:pt x="332" y="1209"/>
                  </a:lnTo>
                  <a:lnTo>
                    <a:pt x="351" y="1232"/>
                  </a:lnTo>
                  <a:lnTo>
                    <a:pt x="370" y="1254"/>
                  </a:lnTo>
                  <a:lnTo>
                    <a:pt x="391" y="1275"/>
                  </a:lnTo>
                  <a:lnTo>
                    <a:pt x="413" y="1297"/>
                  </a:lnTo>
                  <a:lnTo>
                    <a:pt x="436" y="1318"/>
                  </a:lnTo>
                  <a:lnTo>
                    <a:pt x="461" y="1269"/>
                  </a:lnTo>
                  <a:lnTo>
                    <a:pt x="488" y="1220"/>
                  </a:lnTo>
                  <a:lnTo>
                    <a:pt x="515" y="1172"/>
                  </a:lnTo>
                  <a:lnTo>
                    <a:pt x="545" y="1123"/>
                  </a:lnTo>
                  <a:lnTo>
                    <a:pt x="576" y="1075"/>
                  </a:lnTo>
                  <a:lnTo>
                    <a:pt x="609" y="1028"/>
                  </a:lnTo>
                  <a:lnTo>
                    <a:pt x="642" y="982"/>
                  </a:lnTo>
                  <a:lnTo>
                    <a:pt x="677" y="936"/>
                  </a:lnTo>
                  <a:lnTo>
                    <a:pt x="659" y="919"/>
                  </a:lnTo>
                  <a:lnTo>
                    <a:pt x="643" y="903"/>
                  </a:lnTo>
                  <a:lnTo>
                    <a:pt x="627" y="886"/>
                  </a:lnTo>
                  <a:lnTo>
                    <a:pt x="612" y="870"/>
                  </a:lnTo>
                  <a:lnTo>
                    <a:pt x="600" y="853"/>
                  </a:lnTo>
                  <a:lnTo>
                    <a:pt x="586" y="834"/>
                  </a:lnTo>
                  <a:lnTo>
                    <a:pt x="574" y="817"/>
                  </a:lnTo>
                  <a:lnTo>
                    <a:pt x="563" y="798"/>
                  </a:lnTo>
                  <a:close/>
                  <a:moveTo>
                    <a:pt x="268" y="1164"/>
                  </a:moveTo>
                  <a:lnTo>
                    <a:pt x="246" y="1203"/>
                  </a:lnTo>
                  <a:lnTo>
                    <a:pt x="226" y="1242"/>
                  </a:lnTo>
                  <a:lnTo>
                    <a:pt x="208" y="1281"/>
                  </a:lnTo>
                  <a:lnTo>
                    <a:pt x="191" y="1322"/>
                  </a:lnTo>
                  <a:lnTo>
                    <a:pt x="174" y="1362"/>
                  </a:lnTo>
                  <a:lnTo>
                    <a:pt x="161" y="1402"/>
                  </a:lnTo>
                  <a:lnTo>
                    <a:pt x="149" y="1444"/>
                  </a:lnTo>
                  <a:lnTo>
                    <a:pt x="139" y="1485"/>
                  </a:lnTo>
                  <a:lnTo>
                    <a:pt x="154" y="1513"/>
                  </a:lnTo>
                  <a:lnTo>
                    <a:pt x="171" y="1540"/>
                  </a:lnTo>
                  <a:lnTo>
                    <a:pt x="189" y="1568"/>
                  </a:lnTo>
                  <a:lnTo>
                    <a:pt x="209" y="1595"/>
                  </a:lnTo>
                  <a:lnTo>
                    <a:pt x="230" y="1621"/>
                  </a:lnTo>
                  <a:lnTo>
                    <a:pt x="252" y="1646"/>
                  </a:lnTo>
                  <a:lnTo>
                    <a:pt x="275" y="1672"/>
                  </a:lnTo>
                  <a:lnTo>
                    <a:pt x="299" y="1696"/>
                  </a:lnTo>
                  <a:lnTo>
                    <a:pt x="305" y="1673"/>
                  </a:lnTo>
                  <a:lnTo>
                    <a:pt x="310" y="1651"/>
                  </a:lnTo>
                  <a:lnTo>
                    <a:pt x="316" y="1628"/>
                  </a:lnTo>
                  <a:lnTo>
                    <a:pt x="323" y="1606"/>
                  </a:lnTo>
                  <a:lnTo>
                    <a:pt x="330" y="1583"/>
                  </a:lnTo>
                  <a:lnTo>
                    <a:pt x="337" y="1560"/>
                  </a:lnTo>
                  <a:lnTo>
                    <a:pt x="344" y="1538"/>
                  </a:lnTo>
                  <a:lnTo>
                    <a:pt x="352" y="1515"/>
                  </a:lnTo>
                  <a:lnTo>
                    <a:pt x="368" y="1472"/>
                  </a:lnTo>
                  <a:lnTo>
                    <a:pt x="385" y="1430"/>
                  </a:lnTo>
                  <a:lnTo>
                    <a:pt x="404" y="1386"/>
                  </a:lnTo>
                  <a:lnTo>
                    <a:pt x="423" y="1343"/>
                  </a:lnTo>
                  <a:lnTo>
                    <a:pt x="400" y="1323"/>
                  </a:lnTo>
                  <a:lnTo>
                    <a:pt x="378" y="1302"/>
                  </a:lnTo>
                  <a:lnTo>
                    <a:pt x="356" y="1280"/>
                  </a:lnTo>
                  <a:lnTo>
                    <a:pt x="337" y="1257"/>
                  </a:lnTo>
                  <a:lnTo>
                    <a:pt x="317" y="1235"/>
                  </a:lnTo>
                  <a:lnTo>
                    <a:pt x="300" y="1211"/>
                  </a:lnTo>
                  <a:lnTo>
                    <a:pt x="283" y="1188"/>
                  </a:lnTo>
                  <a:lnTo>
                    <a:pt x="268" y="1164"/>
                  </a:lnTo>
                  <a:close/>
                  <a:moveTo>
                    <a:pt x="131" y="1525"/>
                  </a:moveTo>
                  <a:lnTo>
                    <a:pt x="123" y="1570"/>
                  </a:lnTo>
                  <a:lnTo>
                    <a:pt x="118" y="1614"/>
                  </a:lnTo>
                  <a:lnTo>
                    <a:pt x="115" y="1659"/>
                  </a:lnTo>
                  <a:lnTo>
                    <a:pt x="115" y="1704"/>
                  </a:lnTo>
                  <a:lnTo>
                    <a:pt x="115" y="1726"/>
                  </a:lnTo>
                  <a:lnTo>
                    <a:pt x="116" y="1748"/>
                  </a:lnTo>
                  <a:lnTo>
                    <a:pt x="118" y="1771"/>
                  </a:lnTo>
                  <a:lnTo>
                    <a:pt x="120" y="1793"/>
                  </a:lnTo>
                  <a:lnTo>
                    <a:pt x="123" y="1815"/>
                  </a:lnTo>
                  <a:lnTo>
                    <a:pt x="126" y="1838"/>
                  </a:lnTo>
                  <a:lnTo>
                    <a:pt x="131" y="1860"/>
                  </a:lnTo>
                  <a:lnTo>
                    <a:pt x="135" y="1881"/>
                  </a:lnTo>
                  <a:lnTo>
                    <a:pt x="149" y="1906"/>
                  </a:lnTo>
                  <a:lnTo>
                    <a:pt x="165" y="1928"/>
                  </a:lnTo>
                  <a:lnTo>
                    <a:pt x="181" y="1951"/>
                  </a:lnTo>
                  <a:lnTo>
                    <a:pt x="199" y="1972"/>
                  </a:lnTo>
                  <a:lnTo>
                    <a:pt x="217" y="1994"/>
                  </a:lnTo>
                  <a:lnTo>
                    <a:pt x="235" y="2016"/>
                  </a:lnTo>
                  <a:lnTo>
                    <a:pt x="255" y="2037"/>
                  </a:lnTo>
                  <a:lnTo>
                    <a:pt x="276" y="2058"/>
                  </a:lnTo>
                  <a:lnTo>
                    <a:pt x="272" y="2019"/>
                  </a:lnTo>
                  <a:lnTo>
                    <a:pt x="270" y="1978"/>
                  </a:lnTo>
                  <a:lnTo>
                    <a:pt x="270" y="1938"/>
                  </a:lnTo>
                  <a:lnTo>
                    <a:pt x="271" y="1896"/>
                  </a:lnTo>
                  <a:lnTo>
                    <a:pt x="274" y="1855"/>
                  </a:lnTo>
                  <a:lnTo>
                    <a:pt x="278" y="1812"/>
                  </a:lnTo>
                  <a:lnTo>
                    <a:pt x="285" y="1770"/>
                  </a:lnTo>
                  <a:lnTo>
                    <a:pt x="293" y="1727"/>
                  </a:lnTo>
                  <a:lnTo>
                    <a:pt x="269" y="1704"/>
                  </a:lnTo>
                  <a:lnTo>
                    <a:pt x="246" y="1680"/>
                  </a:lnTo>
                  <a:lnTo>
                    <a:pt x="223" y="1656"/>
                  </a:lnTo>
                  <a:lnTo>
                    <a:pt x="202" y="1630"/>
                  </a:lnTo>
                  <a:lnTo>
                    <a:pt x="182" y="1605"/>
                  </a:lnTo>
                  <a:lnTo>
                    <a:pt x="164" y="1578"/>
                  </a:lnTo>
                  <a:lnTo>
                    <a:pt x="147" y="1553"/>
                  </a:lnTo>
                  <a:lnTo>
                    <a:pt x="131" y="1525"/>
                  </a:lnTo>
                  <a:close/>
                  <a:moveTo>
                    <a:pt x="158" y="1966"/>
                  </a:moveTo>
                  <a:lnTo>
                    <a:pt x="166" y="1989"/>
                  </a:lnTo>
                  <a:lnTo>
                    <a:pt x="174" y="2011"/>
                  </a:lnTo>
                  <a:lnTo>
                    <a:pt x="184" y="2034"/>
                  </a:lnTo>
                  <a:lnTo>
                    <a:pt x="194" y="2055"/>
                  </a:lnTo>
                  <a:lnTo>
                    <a:pt x="204" y="2078"/>
                  </a:lnTo>
                  <a:lnTo>
                    <a:pt x="216" y="2100"/>
                  </a:lnTo>
                  <a:lnTo>
                    <a:pt x="229" y="2122"/>
                  </a:lnTo>
                  <a:lnTo>
                    <a:pt x="241" y="2145"/>
                  </a:lnTo>
                  <a:lnTo>
                    <a:pt x="255" y="2166"/>
                  </a:lnTo>
                  <a:lnTo>
                    <a:pt x="269" y="2187"/>
                  </a:lnTo>
                  <a:lnTo>
                    <a:pt x="283" y="2206"/>
                  </a:lnTo>
                  <a:lnTo>
                    <a:pt x="298" y="2227"/>
                  </a:lnTo>
                  <a:lnTo>
                    <a:pt x="298" y="2226"/>
                  </a:lnTo>
                  <a:lnTo>
                    <a:pt x="308" y="2240"/>
                  </a:lnTo>
                  <a:lnTo>
                    <a:pt x="318" y="2252"/>
                  </a:lnTo>
                  <a:lnTo>
                    <a:pt x="329" y="2265"/>
                  </a:lnTo>
                  <a:lnTo>
                    <a:pt x="339" y="2278"/>
                  </a:lnTo>
                  <a:lnTo>
                    <a:pt x="330" y="2257"/>
                  </a:lnTo>
                  <a:lnTo>
                    <a:pt x="321" y="2235"/>
                  </a:lnTo>
                  <a:lnTo>
                    <a:pt x="313" y="2214"/>
                  </a:lnTo>
                  <a:lnTo>
                    <a:pt x="306" y="2193"/>
                  </a:lnTo>
                  <a:lnTo>
                    <a:pt x="299" y="2171"/>
                  </a:lnTo>
                  <a:lnTo>
                    <a:pt x="293" y="2148"/>
                  </a:lnTo>
                  <a:lnTo>
                    <a:pt x="287" y="2125"/>
                  </a:lnTo>
                  <a:lnTo>
                    <a:pt x="283" y="2102"/>
                  </a:lnTo>
                  <a:lnTo>
                    <a:pt x="248" y="2069"/>
                  </a:lnTo>
                  <a:lnTo>
                    <a:pt x="216" y="2036"/>
                  </a:lnTo>
                  <a:lnTo>
                    <a:pt x="186" y="2001"/>
                  </a:lnTo>
                  <a:lnTo>
                    <a:pt x="158" y="1966"/>
                  </a:lnTo>
                  <a:close/>
                  <a:moveTo>
                    <a:pt x="2078" y="232"/>
                  </a:moveTo>
                  <a:lnTo>
                    <a:pt x="2060" y="219"/>
                  </a:lnTo>
                  <a:lnTo>
                    <a:pt x="2042" y="206"/>
                  </a:lnTo>
                  <a:lnTo>
                    <a:pt x="2023" y="195"/>
                  </a:lnTo>
                  <a:lnTo>
                    <a:pt x="2005" y="182"/>
                  </a:lnTo>
                  <a:lnTo>
                    <a:pt x="1984" y="171"/>
                  </a:lnTo>
                  <a:lnTo>
                    <a:pt x="1965" y="160"/>
                  </a:lnTo>
                  <a:lnTo>
                    <a:pt x="1944" y="150"/>
                  </a:lnTo>
                  <a:lnTo>
                    <a:pt x="1922" y="139"/>
                  </a:lnTo>
                  <a:lnTo>
                    <a:pt x="1898" y="141"/>
                  </a:lnTo>
                  <a:lnTo>
                    <a:pt x="1875" y="143"/>
                  </a:lnTo>
                  <a:lnTo>
                    <a:pt x="1851" y="146"/>
                  </a:lnTo>
                  <a:lnTo>
                    <a:pt x="1826" y="150"/>
                  </a:lnTo>
                  <a:lnTo>
                    <a:pt x="1803" y="154"/>
                  </a:lnTo>
                  <a:lnTo>
                    <a:pt x="1780" y="160"/>
                  </a:lnTo>
                  <a:lnTo>
                    <a:pt x="1757" y="166"/>
                  </a:lnTo>
                  <a:lnTo>
                    <a:pt x="1734" y="173"/>
                  </a:lnTo>
                  <a:lnTo>
                    <a:pt x="1740" y="176"/>
                  </a:lnTo>
                  <a:lnTo>
                    <a:pt x="1746" y="181"/>
                  </a:lnTo>
                  <a:lnTo>
                    <a:pt x="1757" y="188"/>
                  </a:lnTo>
                  <a:lnTo>
                    <a:pt x="1768" y="196"/>
                  </a:lnTo>
                  <a:lnTo>
                    <a:pt x="1777" y="204"/>
                  </a:lnTo>
                  <a:lnTo>
                    <a:pt x="1787" y="212"/>
                  </a:lnTo>
                  <a:lnTo>
                    <a:pt x="1824" y="209"/>
                  </a:lnTo>
                  <a:lnTo>
                    <a:pt x="1861" y="207"/>
                  </a:lnTo>
                  <a:lnTo>
                    <a:pt x="1897" y="207"/>
                  </a:lnTo>
                  <a:lnTo>
                    <a:pt x="1934" y="210"/>
                  </a:lnTo>
                  <a:lnTo>
                    <a:pt x="1969" y="212"/>
                  </a:lnTo>
                  <a:lnTo>
                    <a:pt x="2006" y="218"/>
                  </a:lnTo>
                  <a:lnTo>
                    <a:pt x="2042" y="224"/>
                  </a:lnTo>
                  <a:lnTo>
                    <a:pt x="2078" y="232"/>
                  </a:lnTo>
                  <a:close/>
                  <a:moveTo>
                    <a:pt x="1513" y="278"/>
                  </a:moveTo>
                  <a:lnTo>
                    <a:pt x="1542" y="267"/>
                  </a:lnTo>
                  <a:lnTo>
                    <a:pt x="1572" y="257"/>
                  </a:lnTo>
                  <a:lnTo>
                    <a:pt x="1601" y="249"/>
                  </a:lnTo>
                  <a:lnTo>
                    <a:pt x="1631" y="241"/>
                  </a:lnTo>
                  <a:lnTo>
                    <a:pt x="1661" y="233"/>
                  </a:lnTo>
                  <a:lnTo>
                    <a:pt x="1690" y="227"/>
                  </a:lnTo>
                  <a:lnTo>
                    <a:pt x="1719" y="221"/>
                  </a:lnTo>
                  <a:lnTo>
                    <a:pt x="1749" y="217"/>
                  </a:lnTo>
                  <a:lnTo>
                    <a:pt x="1740" y="210"/>
                  </a:lnTo>
                  <a:lnTo>
                    <a:pt x="1731" y="204"/>
                  </a:lnTo>
                  <a:lnTo>
                    <a:pt x="1716" y="194"/>
                  </a:lnTo>
                  <a:lnTo>
                    <a:pt x="1700" y="184"/>
                  </a:lnTo>
                  <a:lnTo>
                    <a:pt x="1675" y="194"/>
                  </a:lnTo>
                  <a:lnTo>
                    <a:pt x="1651" y="203"/>
                  </a:lnTo>
                  <a:lnTo>
                    <a:pt x="1628" y="214"/>
                  </a:lnTo>
                  <a:lnTo>
                    <a:pt x="1604" y="225"/>
                  </a:lnTo>
                  <a:lnTo>
                    <a:pt x="1581" y="237"/>
                  </a:lnTo>
                  <a:lnTo>
                    <a:pt x="1558" y="250"/>
                  </a:lnTo>
                  <a:lnTo>
                    <a:pt x="1535" y="264"/>
                  </a:lnTo>
                  <a:lnTo>
                    <a:pt x="1513" y="278"/>
                  </a:lnTo>
                  <a:close/>
                  <a:moveTo>
                    <a:pt x="2142" y="251"/>
                  </a:moveTo>
                  <a:lnTo>
                    <a:pt x="2152" y="255"/>
                  </a:lnTo>
                  <a:lnTo>
                    <a:pt x="2162" y="258"/>
                  </a:lnTo>
                  <a:lnTo>
                    <a:pt x="2171" y="262"/>
                  </a:lnTo>
                  <a:lnTo>
                    <a:pt x="2181" y="265"/>
                  </a:lnTo>
                  <a:lnTo>
                    <a:pt x="2159" y="251"/>
                  </a:lnTo>
                  <a:lnTo>
                    <a:pt x="2139" y="237"/>
                  </a:lnTo>
                  <a:lnTo>
                    <a:pt x="2118" y="225"/>
                  </a:lnTo>
                  <a:lnTo>
                    <a:pt x="2096" y="212"/>
                  </a:lnTo>
                  <a:lnTo>
                    <a:pt x="2107" y="221"/>
                  </a:lnTo>
                  <a:lnTo>
                    <a:pt x="2120" y="232"/>
                  </a:lnTo>
                  <a:lnTo>
                    <a:pt x="2132" y="241"/>
                  </a:lnTo>
                  <a:lnTo>
                    <a:pt x="2142" y="251"/>
                  </a:lnTo>
                  <a:close/>
                  <a:moveTo>
                    <a:pt x="1314" y="402"/>
                  </a:moveTo>
                  <a:lnTo>
                    <a:pt x="1290" y="416"/>
                  </a:lnTo>
                  <a:lnTo>
                    <a:pt x="1265" y="430"/>
                  </a:lnTo>
                  <a:lnTo>
                    <a:pt x="1242" y="445"/>
                  </a:lnTo>
                  <a:lnTo>
                    <a:pt x="1219" y="460"/>
                  </a:lnTo>
                  <a:lnTo>
                    <a:pt x="1196" y="476"/>
                  </a:lnTo>
                  <a:lnTo>
                    <a:pt x="1173" y="491"/>
                  </a:lnTo>
                  <a:lnTo>
                    <a:pt x="1150" y="507"/>
                  </a:lnTo>
                  <a:lnTo>
                    <a:pt x="1128" y="524"/>
                  </a:lnTo>
                  <a:lnTo>
                    <a:pt x="1106" y="540"/>
                  </a:lnTo>
                  <a:lnTo>
                    <a:pt x="1085" y="558"/>
                  </a:lnTo>
                  <a:lnTo>
                    <a:pt x="1061" y="576"/>
                  </a:lnTo>
                  <a:lnTo>
                    <a:pt x="1041" y="593"/>
                  </a:lnTo>
                  <a:lnTo>
                    <a:pt x="1050" y="603"/>
                  </a:lnTo>
                  <a:lnTo>
                    <a:pt x="1061" y="611"/>
                  </a:lnTo>
                  <a:lnTo>
                    <a:pt x="1072" y="620"/>
                  </a:lnTo>
                  <a:lnTo>
                    <a:pt x="1083" y="628"/>
                  </a:lnTo>
                  <a:lnTo>
                    <a:pt x="1095" y="635"/>
                  </a:lnTo>
                  <a:lnTo>
                    <a:pt x="1106" y="642"/>
                  </a:lnTo>
                  <a:lnTo>
                    <a:pt x="1131" y="610"/>
                  </a:lnTo>
                  <a:lnTo>
                    <a:pt x="1155" y="577"/>
                  </a:lnTo>
                  <a:lnTo>
                    <a:pt x="1180" y="546"/>
                  </a:lnTo>
                  <a:lnTo>
                    <a:pt x="1207" y="515"/>
                  </a:lnTo>
                  <a:lnTo>
                    <a:pt x="1232" y="485"/>
                  </a:lnTo>
                  <a:lnTo>
                    <a:pt x="1258" y="456"/>
                  </a:lnTo>
                  <a:lnTo>
                    <a:pt x="1286" y="429"/>
                  </a:lnTo>
                  <a:lnTo>
                    <a:pt x="1314" y="402"/>
                  </a:lnTo>
                  <a:close/>
                  <a:moveTo>
                    <a:pt x="1019" y="612"/>
                  </a:moveTo>
                  <a:lnTo>
                    <a:pt x="979" y="648"/>
                  </a:lnTo>
                  <a:lnTo>
                    <a:pt x="938" y="686"/>
                  </a:lnTo>
                  <a:lnTo>
                    <a:pt x="898" y="724"/>
                  </a:lnTo>
                  <a:lnTo>
                    <a:pt x="860" y="764"/>
                  </a:lnTo>
                  <a:lnTo>
                    <a:pt x="822" y="804"/>
                  </a:lnTo>
                  <a:lnTo>
                    <a:pt x="785" y="846"/>
                  </a:lnTo>
                  <a:lnTo>
                    <a:pt x="749" y="888"/>
                  </a:lnTo>
                  <a:lnTo>
                    <a:pt x="714" y="932"/>
                  </a:lnTo>
                  <a:lnTo>
                    <a:pt x="731" y="946"/>
                  </a:lnTo>
                  <a:lnTo>
                    <a:pt x="749" y="959"/>
                  </a:lnTo>
                  <a:lnTo>
                    <a:pt x="768" y="971"/>
                  </a:lnTo>
                  <a:lnTo>
                    <a:pt x="786" y="985"/>
                  </a:lnTo>
                  <a:lnTo>
                    <a:pt x="808" y="998"/>
                  </a:lnTo>
                  <a:lnTo>
                    <a:pt x="830" y="1010"/>
                  </a:lnTo>
                  <a:lnTo>
                    <a:pt x="852" y="1023"/>
                  </a:lnTo>
                  <a:lnTo>
                    <a:pt x="876" y="1035"/>
                  </a:lnTo>
                  <a:lnTo>
                    <a:pt x="883" y="1019"/>
                  </a:lnTo>
                  <a:lnTo>
                    <a:pt x="891" y="1004"/>
                  </a:lnTo>
                  <a:lnTo>
                    <a:pt x="913" y="959"/>
                  </a:lnTo>
                  <a:lnTo>
                    <a:pt x="936" y="915"/>
                  </a:lnTo>
                  <a:lnTo>
                    <a:pt x="960" y="871"/>
                  </a:lnTo>
                  <a:lnTo>
                    <a:pt x="985" y="828"/>
                  </a:lnTo>
                  <a:lnTo>
                    <a:pt x="1011" y="786"/>
                  </a:lnTo>
                  <a:lnTo>
                    <a:pt x="1036" y="744"/>
                  </a:lnTo>
                  <a:lnTo>
                    <a:pt x="1063" y="704"/>
                  </a:lnTo>
                  <a:lnTo>
                    <a:pt x="1090" y="664"/>
                  </a:lnTo>
                  <a:lnTo>
                    <a:pt x="1079" y="657"/>
                  </a:lnTo>
                  <a:lnTo>
                    <a:pt x="1068" y="650"/>
                  </a:lnTo>
                  <a:lnTo>
                    <a:pt x="1056" y="641"/>
                  </a:lnTo>
                  <a:lnTo>
                    <a:pt x="1043" y="631"/>
                  </a:lnTo>
                  <a:lnTo>
                    <a:pt x="1030" y="622"/>
                  </a:lnTo>
                  <a:lnTo>
                    <a:pt x="1019" y="612"/>
                  </a:lnTo>
                  <a:close/>
                  <a:moveTo>
                    <a:pt x="697" y="953"/>
                  </a:moveTo>
                  <a:lnTo>
                    <a:pt x="663" y="999"/>
                  </a:lnTo>
                  <a:lnTo>
                    <a:pt x="629" y="1046"/>
                  </a:lnTo>
                  <a:lnTo>
                    <a:pt x="597" y="1093"/>
                  </a:lnTo>
                  <a:lnTo>
                    <a:pt x="566" y="1141"/>
                  </a:lnTo>
                  <a:lnTo>
                    <a:pt x="537" y="1189"/>
                  </a:lnTo>
                  <a:lnTo>
                    <a:pt x="509" y="1239"/>
                  </a:lnTo>
                  <a:lnTo>
                    <a:pt x="482" y="1287"/>
                  </a:lnTo>
                  <a:lnTo>
                    <a:pt x="458" y="1337"/>
                  </a:lnTo>
                  <a:lnTo>
                    <a:pt x="482" y="1356"/>
                  </a:lnTo>
                  <a:lnTo>
                    <a:pt x="506" y="1375"/>
                  </a:lnTo>
                  <a:lnTo>
                    <a:pt x="532" y="1392"/>
                  </a:lnTo>
                  <a:lnTo>
                    <a:pt x="559" y="1410"/>
                  </a:lnTo>
                  <a:lnTo>
                    <a:pt x="593" y="1431"/>
                  </a:lnTo>
                  <a:lnTo>
                    <a:pt x="628" y="1451"/>
                  </a:lnTo>
                  <a:lnTo>
                    <a:pt x="664" y="1469"/>
                  </a:lnTo>
                  <a:lnTo>
                    <a:pt x="702" y="1487"/>
                  </a:lnTo>
                  <a:lnTo>
                    <a:pt x="718" y="1433"/>
                  </a:lnTo>
                  <a:lnTo>
                    <a:pt x="737" y="1379"/>
                  </a:lnTo>
                  <a:lnTo>
                    <a:pt x="755" y="1326"/>
                  </a:lnTo>
                  <a:lnTo>
                    <a:pt x="775" y="1272"/>
                  </a:lnTo>
                  <a:lnTo>
                    <a:pt x="795" y="1218"/>
                  </a:lnTo>
                  <a:lnTo>
                    <a:pt x="817" y="1165"/>
                  </a:lnTo>
                  <a:lnTo>
                    <a:pt x="840" y="1112"/>
                  </a:lnTo>
                  <a:lnTo>
                    <a:pt x="863" y="1060"/>
                  </a:lnTo>
                  <a:lnTo>
                    <a:pt x="840" y="1047"/>
                  </a:lnTo>
                  <a:lnTo>
                    <a:pt x="816" y="1035"/>
                  </a:lnTo>
                  <a:lnTo>
                    <a:pt x="793" y="1021"/>
                  </a:lnTo>
                  <a:lnTo>
                    <a:pt x="771" y="1007"/>
                  </a:lnTo>
                  <a:lnTo>
                    <a:pt x="752" y="994"/>
                  </a:lnTo>
                  <a:lnTo>
                    <a:pt x="733" y="982"/>
                  </a:lnTo>
                  <a:lnTo>
                    <a:pt x="715" y="968"/>
                  </a:lnTo>
                  <a:lnTo>
                    <a:pt x="697" y="953"/>
                  </a:lnTo>
                  <a:close/>
                  <a:moveTo>
                    <a:pt x="445" y="1362"/>
                  </a:moveTo>
                  <a:lnTo>
                    <a:pt x="427" y="1402"/>
                  </a:lnTo>
                  <a:lnTo>
                    <a:pt x="409" y="1443"/>
                  </a:lnTo>
                  <a:lnTo>
                    <a:pt x="393" y="1484"/>
                  </a:lnTo>
                  <a:lnTo>
                    <a:pt x="378" y="1524"/>
                  </a:lnTo>
                  <a:lnTo>
                    <a:pt x="369" y="1549"/>
                  </a:lnTo>
                  <a:lnTo>
                    <a:pt x="361" y="1573"/>
                  </a:lnTo>
                  <a:lnTo>
                    <a:pt x="354" y="1597"/>
                  </a:lnTo>
                  <a:lnTo>
                    <a:pt x="346" y="1621"/>
                  </a:lnTo>
                  <a:lnTo>
                    <a:pt x="340" y="1645"/>
                  </a:lnTo>
                  <a:lnTo>
                    <a:pt x="333" y="1669"/>
                  </a:lnTo>
                  <a:lnTo>
                    <a:pt x="328" y="1694"/>
                  </a:lnTo>
                  <a:lnTo>
                    <a:pt x="322" y="1718"/>
                  </a:lnTo>
                  <a:lnTo>
                    <a:pt x="353" y="1744"/>
                  </a:lnTo>
                  <a:lnTo>
                    <a:pt x="385" y="1771"/>
                  </a:lnTo>
                  <a:lnTo>
                    <a:pt x="420" y="1796"/>
                  </a:lnTo>
                  <a:lnTo>
                    <a:pt x="454" y="1822"/>
                  </a:lnTo>
                  <a:lnTo>
                    <a:pt x="491" y="1845"/>
                  </a:lnTo>
                  <a:lnTo>
                    <a:pt x="529" y="1868"/>
                  </a:lnTo>
                  <a:lnTo>
                    <a:pt x="568" y="1890"/>
                  </a:lnTo>
                  <a:lnTo>
                    <a:pt x="610" y="1910"/>
                  </a:lnTo>
                  <a:lnTo>
                    <a:pt x="614" y="1875"/>
                  </a:lnTo>
                  <a:lnTo>
                    <a:pt x="620" y="1839"/>
                  </a:lnTo>
                  <a:lnTo>
                    <a:pt x="626" y="1803"/>
                  </a:lnTo>
                  <a:lnTo>
                    <a:pt x="633" y="1766"/>
                  </a:lnTo>
                  <a:lnTo>
                    <a:pt x="641" y="1729"/>
                  </a:lnTo>
                  <a:lnTo>
                    <a:pt x="649" y="1693"/>
                  </a:lnTo>
                  <a:lnTo>
                    <a:pt x="657" y="1655"/>
                  </a:lnTo>
                  <a:lnTo>
                    <a:pt x="666" y="1618"/>
                  </a:lnTo>
                  <a:lnTo>
                    <a:pt x="673" y="1591"/>
                  </a:lnTo>
                  <a:lnTo>
                    <a:pt x="680" y="1566"/>
                  </a:lnTo>
                  <a:lnTo>
                    <a:pt x="687" y="1539"/>
                  </a:lnTo>
                  <a:lnTo>
                    <a:pt x="694" y="1514"/>
                  </a:lnTo>
                  <a:lnTo>
                    <a:pt x="655" y="1496"/>
                  </a:lnTo>
                  <a:lnTo>
                    <a:pt x="617" y="1475"/>
                  </a:lnTo>
                  <a:lnTo>
                    <a:pt x="580" y="1454"/>
                  </a:lnTo>
                  <a:lnTo>
                    <a:pt x="544" y="1433"/>
                  </a:lnTo>
                  <a:lnTo>
                    <a:pt x="518" y="1416"/>
                  </a:lnTo>
                  <a:lnTo>
                    <a:pt x="494" y="1399"/>
                  </a:lnTo>
                  <a:lnTo>
                    <a:pt x="468" y="1380"/>
                  </a:lnTo>
                  <a:lnTo>
                    <a:pt x="445" y="1362"/>
                  </a:lnTo>
                  <a:close/>
                  <a:moveTo>
                    <a:pt x="316" y="1749"/>
                  </a:moveTo>
                  <a:lnTo>
                    <a:pt x="309" y="1793"/>
                  </a:lnTo>
                  <a:lnTo>
                    <a:pt x="303" y="1837"/>
                  </a:lnTo>
                  <a:lnTo>
                    <a:pt x="299" y="1880"/>
                  </a:lnTo>
                  <a:lnTo>
                    <a:pt x="298" y="1923"/>
                  </a:lnTo>
                  <a:lnTo>
                    <a:pt x="297" y="1966"/>
                  </a:lnTo>
                  <a:lnTo>
                    <a:pt x="299" y="2007"/>
                  </a:lnTo>
                  <a:lnTo>
                    <a:pt x="302" y="2047"/>
                  </a:lnTo>
                  <a:lnTo>
                    <a:pt x="308" y="2088"/>
                  </a:lnTo>
                  <a:lnTo>
                    <a:pt x="331" y="2107"/>
                  </a:lnTo>
                  <a:lnTo>
                    <a:pt x="355" y="2127"/>
                  </a:lnTo>
                  <a:lnTo>
                    <a:pt x="379" y="2146"/>
                  </a:lnTo>
                  <a:lnTo>
                    <a:pt x="405" y="2165"/>
                  </a:lnTo>
                  <a:lnTo>
                    <a:pt x="430" y="2182"/>
                  </a:lnTo>
                  <a:lnTo>
                    <a:pt x="457" y="2199"/>
                  </a:lnTo>
                  <a:lnTo>
                    <a:pt x="484" y="2217"/>
                  </a:lnTo>
                  <a:lnTo>
                    <a:pt x="513" y="2233"/>
                  </a:lnTo>
                  <a:lnTo>
                    <a:pt x="533" y="2244"/>
                  </a:lnTo>
                  <a:lnTo>
                    <a:pt x="552" y="2256"/>
                  </a:lnTo>
                  <a:lnTo>
                    <a:pt x="573" y="2266"/>
                  </a:lnTo>
                  <a:lnTo>
                    <a:pt x="594" y="2277"/>
                  </a:lnTo>
                  <a:lnTo>
                    <a:pt x="593" y="2255"/>
                  </a:lnTo>
                  <a:lnTo>
                    <a:pt x="591" y="2232"/>
                  </a:lnTo>
                  <a:lnTo>
                    <a:pt x="590" y="2209"/>
                  </a:lnTo>
                  <a:lnTo>
                    <a:pt x="590" y="2186"/>
                  </a:lnTo>
                  <a:lnTo>
                    <a:pt x="590" y="2157"/>
                  </a:lnTo>
                  <a:lnTo>
                    <a:pt x="591" y="2127"/>
                  </a:lnTo>
                  <a:lnTo>
                    <a:pt x="593" y="2097"/>
                  </a:lnTo>
                  <a:lnTo>
                    <a:pt x="594" y="2066"/>
                  </a:lnTo>
                  <a:lnTo>
                    <a:pt x="596" y="2035"/>
                  </a:lnTo>
                  <a:lnTo>
                    <a:pt x="598" y="2004"/>
                  </a:lnTo>
                  <a:lnTo>
                    <a:pt x="602" y="1971"/>
                  </a:lnTo>
                  <a:lnTo>
                    <a:pt x="605" y="1939"/>
                  </a:lnTo>
                  <a:lnTo>
                    <a:pt x="562" y="1917"/>
                  </a:lnTo>
                  <a:lnTo>
                    <a:pt x="520" y="1894"/>
                  </a:lnTo>
                  <a:lnTo>
                    <a:pt x="479" y="1869"/>
                  </a:lnTo>
                  <a:lnTo>
                    <a:pt x="439" y="1843"/>
                  </a:lnTo>
                  <a:lnTo>
                    <a:pt x="407" y="1822"/>
                  </a:lnTo>
                  <a:lnTo>
                    <a:pt x="375" y="1797"/>
                  </a:lnTo>
                  <a:lnTo>
                    <a:pt x="345" y="1773"/>
                  </a:lnTo>
                  <a:lnTo>
                    <a:pt x="316" y="1749"/>
                  </a:lnTo>
                  <a:close/>
                  <a:moveTo>
                    <a:pt x="317" y="2131"/>
                  </a:moveTo>
                  <a:lnTo>
                    <a:pt x="325" y="2163"/>
                  </a:lnTo>
                  <a:lnTo>
                    <a:pt x="335" y="2193"/>
                  </a:lnTo>
                  <a:lnTo>
                    <a:pt x="345" y="2221"/>
                  </a:lnTo>
                  <a:lnTo>
                    <a:pt x="358" y="2250"/>
                  </a:lnTo>
                  <a:lnTo>
                    <a:pt x="370" y="2279"/>
                  </a:lnTo>
                  <a:lnTo>
                    <a:pt x="385" y="2305"/>
                  </a:lnTo>
                  <a:lnTo>
                    <a:pt x="403" y="2332"/>
                  </a:lnTo>
                  <a:lnTo>
                    <a:pt x="420" y="2358"/>
                  </a:lnTo>
                  <a:lnTo>
                    <a:pt x="445" y="2380"/>
                  </a:lnTo>
                  <a:lnTo>
                    <a:pt x="472" y="2401"/>
                  </a:lnTo>
                  <a:lnTo>
                    <a:pt x="498" y="2422"/>
                  </a:lnTo>
                  <a:lnTo>
                    <a:pt x="527" y="2443"/>
                  </a:lnTo>
                  <a:lnTo>
                    <a:pt x="556" y="2462"/>
                  </a:lnTo>
                  <a:lnTo>
                    <a:pt x="586" y="2481"/>
                  </a:lnTo>
                  <a:lnTo>
                    <a:pt x="616" y="2499"/>
                  </a:lnTo>
                  <a:lnTo>
                    <a:pt x="647" y="2516"/>
                  </a:lnTo>
                  <a:lnTo>
                    <a:pt x="639" y="2494"/>
                  </a:lnTo>
                  <a:lnTo>
                    <a:pt x="629" y="2470"/>
                  </a:lnTo>
                  <a:lnTo>
                    <a:pt x="623" y="2446"/>
                  </a:lnTo>
                  <a:lnTo>
                    <a:pt x="616" y="2421"/>
                  </a:lnTo>
                  <a:lnTo>
                    <a:pt x="610" y="2394"/>
                  </a:lnTo>
                  <a:lnTo>
                    <a:pt x="605" y="2367"/>
                  </a:lnTo>
                  <a:lnTo>
                    <a:pt x="601" y="2338"/>
                  </a:lnTo>
                  <a:lnTo>
                    <a:pt x="597" y="2308"/>
                  </a:lnTo>
                  <a:lnTo>
                    <a:pt x="572" y="2296"/>
                  </a:lnTo>
                  <a:lnTo>
                    <a:pt x="548" y="2284"/>
                  </a:lnTo>
                  <a:lnTo>
                    <a:pt x="522" y="2271"/>
                  </a:lnTo>
                  <a:lnTo>
                    <a:pt x="499" y="2257"/>
                  </a:lnTo>
                  <a:lnTo>
                    <a:pt x="474" y="2243"/>
                  </a:lnTo>
                  <a:lnTo>
                    <a:pt x="450" y="2228"/>
                  </a:lnTo>
                  <a:lnTo>
                    <a:pt x="427" y="2213"/>
                  </a:lnTo>
                  <a:lnTo>
                    <a:pt x="404" y="2197"/>
                  </a:lnTo>
                  <a:lnTo>
                    <a:pt x="382" y="2181"/>
                  </a:lnTo>
                  <a:lnTo>
                    <a:pt x="360" y="2165"/>
                  </a:lnTo>
                  <a:lnTo>
                    <a:pt x="338" y="2149"/>
                  </a:lnTo>
                  <a:lnTo>
                    <a:pt x="317" y="2131"/>
                  </a:lnTo>
                  <a:close/>
                  <a:moveTo>
                    <a:pt x="1869" y="116"/>
                  </a:moveTo>
                  <a:lnTo>
                    <a:pt x="1847" y="107"/>
                  </a:lnTo>
                  <a:lnTo>
                    <a:pt x="1824" y="99"/>
                  </a:lnTo>
                  <a:lnTo>
                    <a:pt x="1801" y="92"/>
                  </a:lnTo>
                  <a:lnTo>
                    <a:pt x="1778" y="84"/>
                  </a:lnTo>
                  <a:lnTo>
                    <a:pt x="1754" y="77"/>
                  </a:lnTo>
                  <a:lnTo>
                    <a:pt x="1730" y="72"/>
                  </a:lnTo>
                  <a:lnTo>
                    <a:pt x="1705" y="66"/>
                  </a:lnTo>
                  <a:lnTo>
                    <a:pt x="1681" y="60"/>
                  </a:lnTo>
                  <a:lnTo>
                    <a:pt x="1669" y="62"/>
                  </a:lnTo>
                  <a:lnTo>
                    <a:pt x="1657" y="66"/>
                  </a:lnTo>
                  <a:lnTo>
                    <a:pt x="1646" y="70"/>
                  </a:lnTo>
                  <a:lnTo>
                    <a:pt x="1634" y="76"/>
                  </a:lnTo>
                  <a:lnTo>
                    <a:pt x="1621" y="83"/>
                  </a:lnTo>
                  <a:lnTo>
                    <a:pt x="1610" y="91"/>
                  </a:lnTo>
                  <a:lnTo>
                    <a:pt x="1598" y="99"/>
                  </a:lnTo>
                  <a:lnTo>
                    <a:pt x="1586" y="110"/>
                  </a:lnTo>
                  <a:lnTo>
                    <a:pt x="1617" y="119"/>
                  </a:lnTo>
                  <a:lnTo>
                    <a:pt x="1647" y="129"/>
                  </a:lnTo>
                  <a:lnTo>
                    <a:pt x="1674" y="142"/>
                  </a:lnTo>
                  <a:lnTo>
                    <a:pt x="1702" y="154"/>
                  </a:lnTo>
                  <a:lnTo>
                    <a:pt x="1742" y="142"/>
                  </a:lnTo>
                  <a:lnTo>
                    <a:pt x="1784" y="130"/>
                  </a:lnTo>
                  <a:lnTo>
                    <a:pt x="1806" y="127"/>
                  </a:lnTo>
                  <a:lnTo>
                    <a:pt x="1826" y="122"/>
                  </a:lnTo>
                  <a:lnTo>
                    <a:pt x="1847" y="119"/>
                  </a:lnTo>
                  <a:lnTo>
                    <a:pt x="1869" y="116"/>
                  </a:lnTo>
                  <a:close/>
                  <a:moveTo>
                    <a:pt x="682" y="2582"/>
                  </a:moveTo>
                  <a:lnTo>
                    <a:pt x="676" y="2570"/>
                  </a:lnTo>
                  <a:lnTo>
                    <a:pt x="667" y="2558"/>
                  </a:lnTo>
                  <a:lnTo>
                    <a:pt x="641" y="2544"/>
                  </a:lnTo>
                  <a:lnTo>
                    <a:pt x="616" y="2530"/>
                  </a:lnTo>
                  <a:lnTo>
                    <a:pt x="589" y="2515"/>
                  </a:lnTo>
                  <a:lnTo>
                    <a:pt x="565" y="2500"/>
                  </a:lnTo>
                  <a:lnTo>
                    <a:pt x="594" y="2521"/>
                  </a:lnTo>
                  <a:lnTo>
                    <a:pt x="623" y="2543"/>
                  </a:lnTo>
                  <a:lnTo>
                    <a:pt x="653" y="2562"/>
                  </a:lnTo>
                  <a:lnTo>
                    <a:pt x="682" y="2582"/>
                  </a:lnTo>
                  <a:close/>
                  <a:moveTo>
                    <a:pt x="1450" y="288"/>
                  </a:moveTo>
                  <a:lnTo>
                    <a:pt x="1476" y="270"/>
                  </a:lnTo>
                  <a:lnTo>
                    <a:pt x="1503" y="252"/>
                  </a:lnTo>
                  <a:lnTo>
                    <a:pt x="1529" y="235"/>
                  </a:lnTo>
                  <a:lnTo>
                    <a:pt x="1556" y="220"/>
                  </a:lnTo>
                  <a:lnTo>
                    <a:pt x="1583" y="205"/>
                  </a:lnTo>
                  <a:lnTo>
                    <a:pt x="1611" y="191"/>
                  </a:lnTo>
                  <a:lnTo>
                    <a:pt x="1639" y="179"/>
                  </a:lnTo>
                  <a:lnTo>
                    <a:pt x="1666" y="167"/>
                  </a:lnTo>
                  <a:lnTo>
                    <a:pt x="1642" y="157"/>
                  </a:lnTo>
                  <a:lnTo>
                    <a:pt x="1617" y="148"/>
                  </a:lnTo>
                  <a:lnTo>
                    <a:pt x="1590" y="139"/>
                  </a:lnTo>
                  <a:lnTo>
                    <a:pt x="1563" y="131"/>
                  </a:lnTo>
                  <a:lnTo>
                    <a:pt x="1549" y="146"/>
                  </a:lnTo>
                  <a:lnTo>
                    <a:pt x="1535" y="163"/>
                  </a:lnTo>
                  <a:lnTo>
                    <a:pt x="1521" y="180"/>
                  </a:lnTo>
                  <a:lnTo>
                    <a:pt x="1507" y="198"/>
                  </a:lnTo>
                  <a:lnTo>
                    <a:pt x="1492" y="219"/>
                  </a:lnTo>
                  <a:lnTo>
                    <a:pt x="1478" y="241"/>
                  </a:lnTo>
                  <a:lnTo>
                    <a:pt x="1464" y="264"/>
                  </a:lnTo>
                  <a:lnTo>
                    <a:pt x="1450" y="288"/>
                  </a:lnTo>
                  <a:close/>
                  <a:moveTo>
                    <a:pt x="1366" y="391"/>
                  </a:moveTo>
                  <a:lnTo>
                    <a:pt x="1334" y="419"/>
                  </a:lnTo>
                  <a:lnTo>
                    <a:pt x="1303" y="449"/>
                  </a:lnTo>
                  <a:lnTo>
                    <a:pt x="1273" y="482"/>
                  </a:lnTo>
                  <a:lnTo>
                    <a:pt x="1243" y="514"/>
                  </a:lnTo>
                  <a:lnTo>
                    <a:pt x="1215" y="547"/>
                  </a:lnTo>
                  <a:lnTo>
                    <a:pt x="1186" y="582"/>
                  </a:lnTo>
                  <a:lnTo>
                    <a:pt x="1158" y="619"/>
                  </a:lnTo>
                  <a:lnTo>
                    <a:pt x="1131" y="654"/>
                  </a:lnTo>
                  <a:lnTo>
                    <a:pt x="1157" y="667"/>
                  </a:lnTo>
                  <a:lnTo>
                    <a:pt x="1185" y="679"/>
                  </a:lnTo>
                  <a:lnTo>
                    <a:pt x="1214" y="689"/>
                  </a:lnTo>
                  <a:lnTo>
                    <a:pt x="1243" y="697"/>
                  </a:lnTo>
                  <a:lnTo>
                    <a:pt x="1257" y="656"/>
                  </a:lnTo>
                  <a:lnTo>
                    <a:pt x="1272" y="614"/>
                  </a:lnTo>
                  <a:lnTo>
                    <a:pt x="1287" y="575"/>
                  </a:lnTo>
                  <a:lnTo>
                    <a:pt x="1303" y="536"/>
                  </a:lnTo>
                  <a:lnTo>
                    <a:pt x="1318" y="498"/>
                  </a:lnTo>
                  <a:lnTo>
                    <a:pt x="1334" y="461"/>
                  </a:lnTo>
                  <a:lnTo>
                    <a:pt x="1349" y="425"/>
                  </a:lnTo>
                  <a:lnTo>
                    <a:pt x="1366" y="391"/>
                  </a:lnTo>
                  <a:close/>
                  <a:moveTo>
                    <a:pt x="1114" y="678"/>
                  </a:moveTo>
                  <a:lnTo>
                    <a:pt x="1087" y="717"/>
                  </a:lnTo>
                  <a:lnTo>
                    <a:pt x="1060" y="757"/>
                  </a:lnTo>
                  <a:lnTo>
                    <a:pt x="1034" y="798"/>
                  </a:lnTo>
                  <a:lnTo>
                    <a:pt x="1010" y="841"/>
                  </a:lnTo>
                  <a:lnTo>
                    <a:pt x="984" y="884"/>
                  </a:lnTo>
                  <a:lnTo>
                    <a:pt x="961" y="926"/>
                  </a:lnTo>
                  <a:lnTo>
                    <a:pt x="938" y="970"/>
                  </a:lnTo>
                  <a:lnTo>
                    <a:pt x="915" y="1015"/>
                  </a:lnTo>
                  <a:lnTo>
                    <a:pt x="908" y="1031"/>
                  </a:lnTo>
                  <a:lnTo>
                    <a:pt x="900" y="1046"/>
                  </a:lnTo>
                  <a:lnTo>
                    <a:pt x="926" y="1058"/>
                  </a:lnTo>
                  <a:lnTo>
                    <a:pt x="952" y="1068"/>
                  </a:lnTo>
                  <a:lnTo>
                    <a:pt x="979" y="1078"/>
                  </a:lnTo>
                  <a:lnTo>
                    <a:pt x="1006" y="1088"/>
                  </a:lnTo>
                  <a:lnTo>
                    <a:pt x="1034" y="1097"/>
                  </a:lnTo>
                  <a:lnTo>
                    <a:pt x="1061" y="1105"/>
                  </a:lnTo>
                  <a:lnTo>
                    <a:pt x="1091" y="1113"/>
                  </a:lnTo>
                  <a:lnTo>
                    <a:pt x="1120" y="1120"/>
                  </a:lnTo>
                  <a:lnTo>
                    <a:pt x="1133" y="1068"/>
                  </a:lnTo>
                  <a:lnTo>
                    <a:pt x="1147" y="1016"/>
                  </a:lnTo>
                  <a:lnTo>
                    <a:pt x="1161" y="966"/>
                  </a:lnTo>
                  <a:lnTo>
                    <a:pt x="1174" y="916"/>
                  </a:lnTo>
                  <a:lnTo>
                    <a:pt x="1189" y="866"/>
                  </a:lnTo>
                  <a:lnTo>
                    <a:pt x="1204" y="818"/>
                  </a:lnTo>
                  <a:lnTo>
                    <a:pt x="1219" y="771"/>
                  </a:lnTo>
                  <a:lnTo>
                    <a:pt x="1234" y="724"/>
                  </a:lnTo>
                  <a:lnTo>
                    <a:pt x="1202" y="714"/>
                  </a:lnTo>
                  <a:lnTo>
                    <a:pt x="1172" y="703"/>
                  </a:lnTo>
                  <a:lnTo>
                    <a:pt x="1142" y="691"/>
                  </a:lnTo>
                  <a:lnTo>
                    <a:pt x="1114" y="678"/>
                  </a:lnTo>
                  <a:close/>
                  <a:moveTo>
                    <a:pt x="889" y="1072"/>
                  </a:moveTo>
                  <a:lnTo>
                    <a:pt x="864" y="1123"/>
                  </a:lnTo>
                  <a:lnTo>
                    <a:pt x="841" y="1176"/>
                  </a:lnTo>
                  <a:lnTo>
                    <a:pt x="821" y="1229"/>
                  </a:lnTo>
                  <a:lnTo>
                    <a:pt x="800" y="1284"/>
                  </a:lnTo>
                  <a:lnTo>
                    <a:pt x="780" y="1338"/>
                  </a:lnTo>
                  <a:lnTo>
                    <a:pt x="761" y="1391"/>
                  </a:lnTo>
                  <a:lnTo>
                    <a:pt x="744" y="1445"/>
                  </a:lnTo>
                  <a:lnTo>
                    <a:pt x="727" y="1499"/>
                  </a:lnTo>
                  <a:lnTo>
                    <a:pt x="762" y="1513"/>
                  </a:lnTo>
                  <a:lnTo>
                    <a:pt x="797" y="1527"/>
                  </a:lnTo>
                  <a:lnTo>
                    <a:pt x="832" y="1540"/>
                  </a:lnTo>
                  <a:lnTo>
                    <a:pt x="869" y="1552"/>
                  </a:lnTo>
                  <a:lnTo>
                    <a:pt x="907" y="1563"/>
                  </a:lnTo>
                  <a:lnTo>
                    <a:pt x="945" y="1574"/>
                  </a:lnTo>
                  <a:lnTo>
                    <a:pt x="983" y="1584"/>
                  </a:lnTo>
                  <a:lnTo>
                    <a:pt x="1022" y="1592"/>
                  </a:lnTo>
                  <a:lnTo>
                    <a:pt x="1032" y="1543"/>
                  </a:lnTo>
                  <a:lnTo>
                    <a:pt x="1041" y="1493"/>
                  </a:lnTo>
                  <a:lnTo>
                    <a:pt x="1050" y="1444"/>
                  </a:lnTo>
                  <a:lnTo>
                    <a:pt x="1059" y="1393"/>
                  </a:lnTo>
                  <a:lnTo>
                    <a:pt x="1070" y="1343"/>
                  </a:lnTo>
                  <a:lnTo>
                    <a:pt x="1080" y="1293"/>
                  </a:lnTo>
                  <a:lnTo>
                    <a:pt x="1091" y="1243"/>
                  </a:lnTo>
                  <a:lnTo>
                    <a:pt x="1103" y="1194"/>
                  </a:lnTo>
                  <a:lnTo>
                    <a:pt x="1105" y="1182"/>
                  </a:lnTo>
                  <a:lnTo>
                    <a:pt x="1108" y="1169"/>
                  </a:lnTo>
                  <a:lnTo>
                    <a:pt x="1111" y="1158"/>
                  </a:lnTo>
                  <a:lnTo>
                    <a:pt x="1114" y="1146"/>
                  </a:lnTo>
                  <a:lnTo>
                    <a:pt x="1083" y="1138"/>
                  </a:lnTo>
                  <a:lnTo>
                    <a:pt x="1055" y="1131"/>
                  </a:lnTo>
                  <a:lnTo>
                    <a:pt x="1025" y="1122"/>
                  </a:lnTo>
                  <a:lnTo>
                    <a:pt x="997" y="1113"/>
                  </a:lnTo>
                  <a:lnTo>
                    <a:pt x="968" y="1104"/>
                  </a:lnTo>
                  <a:lnTo>
                    <a:pt x="942" y="1093"/>
                  </a:lnTo>
                  <a:lnTo>
                    <a:pt x="915" y="1083"/>
                  </a:lnTo>
                  <a:lnTo>
                    <a:pt x="889" y="1072"/>
                  </a:lnTo>
                  <a:close/>
                  <a:moveTo>
                    <a:pt x="719" y="1525"/>
                  </a:moveTo>
                  <a:lnTo>
                    <a:pt x="712" y="1550"/>
                  </a:lnTo>
                  <a:lnTo>
                    <a:pt x="706" y="1575"/>
                  </a:lnTo>
                  <a:lnTo>
                    <a:pt x="700" y="1599"/>
                  </a:lnTo>
                  <a:lnTo>
                    <a:pt x="693" y="1623"/>
                  </a:lnTo>
                  <a:lnTo>
                    <a:pt x="684" y="1663"/>
                  </a:lnTo>
                  <a:lnTo>
                    <a:pt x="674" y="1701"/>
                  </a:lnTo>
                  <a:lnTo>
                    <a:pt x="666" y="1739"/>
                  </a:lnTo>
                  <a:lnTo>
                    <a:pt x="659" y="1775"/>
                  </a:lnTo>
                  <a:lnTo>
                    <a:pt x="653" y="1813"/>
                  </a:lnTo>
                  <a:lnTo>
                    <a:pt x="646" y="1850"/>
                  </a:lnTo>
                  <a:lnTo>
                    <a:pt x="640" y="1887"/>
                  </a:lnTo>
                  <a:lnTo>
                    <a:pt x="635" y="1923"/>
                  </a:lnTo>
                  <a:lnTo>
                    <a:pt x="673" y="1940"/>
                  </a:lnTo>
                  <a:lnTo>
                    <a:pt x="714" y="1958"/>
                  </a:lnTo>
                  <a:lnTo>
                    <a:pt x="754" y="1972"/>
                  </a:lnTo>
                  <a:lnTo>
                    <a:pt x="794" y="1987"/>
                  </a:lnTo>
                  <a:lnTo>
                    <a:pt x="837" y="2001"/>
                  </a:lnTo>
                  <a:lnTo>
                    <a:pt x="879" y="2014"/>
                  </a:lnTo>
                  <a:lnTo>
                    <a:pt x="923" y="2027"/>
                  </a:lnTo>
                  <a:lnTo>
                    <a:pt x="968" y="2037"/>
                  </a:lnTo>
                  <a:lnTo>
                    <a:pt x="972" y="1987"/>
                  </a:lnTo>
                  <a:lnTo>
                    <a:pt x="976" y="1937"/>
                  </a:lnTo>
                  <a:lnTo>
                    <a:pt x="982" y="1885"/>
                  </a:lnTo>
                  <a:lnTo>
                    <a:pt x="988" y="1833"/>
                  </a:lnTo>
                  <a:lnTo>
                    <a:pt x="995" y="1781"/>
                  </a:lnTo>
                  <a:lnTo>
                    <a:pt x="1002" y="1727"/>
                  </a:lnTo>
                  <a:lnTo>
                    <a:pt x="1010" y="1674"/>
                  </a:lnTo>
                  <a:lnTo>
                    <a:pt x="1019" y="1620"/>
                  </a:lnTo>
                  <a:lnTo>
                    <a:pt x="979" y="1611"/>
                  </a:lnTo>
                  <a:lnTo>
                    <a:pt x="939" y="1602"/>
                  </a:lnTo>
                  <a:lnTo>
                    <a:pt x="901" y="1590"/>
                  </a:lnTo>
                  <a:lnTo>
                    <a:pt x="863" y="1578"/>
                  </a:lnTo>
                  <a:lnTo>
                    <a:pt x="826" y="1567"/>
                  </a:lnTo>
                  <a:lnTo>
                    <a:pt x="790" y="1553"/>
                  </a:lnTo>
                  <a:lnTo>
                    <a:pt x="754" y="1539"/>
                  </a:lnTo>
                  <a:lnTo>
                    <a:pt x="719" y="1525"/>
                  </a:lnTo>
                  <a:close/>
                  <a:moveTo>
                    <a:pt x="632" y="1952"/>
                  </a:moveTo>
                  <a:lnTo>
                    <a:pt x="628" y="1983"/>
                  </a:lnTo>
                  <a:lnTo>
                    <a:pt x="625" y="2013"/>
                  </a:lnTo>
                  <a:lnTo>
                    <a:pt x="623" y="2043"/>
                  </a:lnTo>
                  <a:lnTo>
                    <a:pt x="620" y="2072"/>
                  </a:lnTo>
                  <a:lnTo>
                    <a:pt x="619" y="2102"/>
                  </a:lnTo>
                  <a:lnTo>
                    <a:pt x="618" y="2129"/>
                  </a:lnTo>
                  <a:lnTo>
                    <a:pt x="618" y="2158"/>
                  </a:lnTo>
                  <a:lnTo>
                    <a:pt x="618" y="2186"/>
                  </a:lnTo>
                  <a:lnTo>
                    <a:pt x="618" y="2212"/>
                  </a:lnTo>
                  <a:lnTo>
                    <a:pt x="619" y="2239"/>
                  </a:lnTo>
                  <a:lnTo>
                    <a:pt x="620" y="2265"/>
                  </a:lnTo>
                  <a:lnTo>
                    <a:pt x="623" y="2290"/>
                  </a:lnTo>
                  <a:lnTo>
                    <a:pt x="662" y="2308"/>
                  </a:lnTo>
                  <a:lnTo>
                    <a:pt x="702" y="2324"/>
                  </a:lnTo>
                  <a:lnTo>
                    <a:pt x="742" y="2340"/>
                  </a:lnTo>
                  <a:lnTo>
                    <a:pt x="785" y="2355"/>
                  </a:lnTo>
                  <a:lnTo>
                    <a:pt x="828" y="2369"/>
                  </a:lnTo>
                  <a:lnTo>
                    <a:pt x="870" y="2381"/>
                  </a:lnTo>
                  <a:lnTo>
                    <a:pt x="915" y="2393"/>
                  </a:lnTo>
                  <a:lnTo>
                    <a:pt x="960" y="2403"/>
                  </a:lnTo>
                  <a:lnTo>
                    <a:pt x="960" y="2395"/>
                  </a:lnTo>
                  <a:lnTo>
                    <a:pt x="959" y="2386"/>
                  </a:lnTo>
                  <a:lnTo>
                    <a:pt x="959" y="2377"/>
                  </a:lnTo>
                  <a:lnTo>
                    <a:pt x="959" y="2369"/>
                  </a:lnTo>
                  <a:lnTo>
                    <a:pt x="958" y="2333"/>
                  </a:lnTo>
                  <a:lnTo>
                    <a:pt x="957" y="2297"/>
                  </a:lnTo>
                  <a:lnTo>
                    <a:pt x="957" y="2262"/>
                  </a:lnTo>
                  <a:lnTo>
                    <a:pt x="958" y="2224"/>
                  </a:lnTo>
                  <a:lnTo>
                    <a:pt x="959" y="2184"/>
                  </a:lnTo>
                  <a:lnTo>
                    <a:pt x="961" y="2145"/>
                  </a:lnTo>
                  <a:lnTo>
                    <a:pt x="962" y="2106"/>
                  </a:lnTo>
                  <a:lnTo>
                    <a:pt x="966" y="2065"/>
                  </a:lnTo>
                  <a:lnTo>
                    <a:pt x="921" y="2054"/>
                  </a:lnTo>
                  <a:lnTo>
                    <a:pt x="877" y="2042"/>
                  </a:lnTo>
                  <a:lnTo>
                    <a:pt x="835" y="2029"/>
                  </a:lnTo>
                  <a:lnTo>
                    <a:pt x="792" y="2015"/>
                  </a:lnTo>
                  <a:lnTo>
                    <a:pt x="750" y="2001"/>
                  </a:lnTo>
                  <a:lnTo>
                    <a:pt x="710" y="1985"/>
                  </a:lnTo>
                  <a:lnTo>
                    <a:pt x="671" y="1969"/>
                  </a:lnTo>
                  <a:lnTo>
                    <a:pt x="632" y="1952"/>
                  </a:lnTo>
                  <a:close/>
                  <a:moveTo>
                    <a:pt x="626" y="2322"/>
                  </a:moveTo>
                  <a:lnTo>
                    <a:pt x="631" y="2353"/>
                  </a:lnTo>
                  <a:lnTo>
                    <a:pt x="635" y="2384"/>
                  </a:lnTo>
                  <a:lnTo>
                    <a:pt x="642" y="2413"/>
                  </a:lnTo>
                  <a:lnTo>
                    <a:pt x="649" y="2440"/>
                  </a:lnTo>
                  <a:lnTo>
                    <a:pt x="657" y="2467"/>
                  </a:lnTo>
                  <a:lnTo>
                    <a:pt x="666" y="2492"/>
                  </a:lnTo>
                  <a:lnTo>
                    <a:pt x="677" y="2515"/>
                  </a:lnTo>
                  <a:lnTo>
                    <a:pt x="687" y="2537"/>
                  </a:lnTo>
                  <a:lnTo>
                    <a:pt x="706" y="2546"/>
                  </a:lnTo>
                  <a:lnTo>
                    <a:pt x="724" y="2554"/>
                  </a:lnTo>
                  <a:lnTo>
                    <a:pt x="744" y="2564"/>
                  </a:lnTo>
                  <a:lnTo>
                    <a:pt x="762" y="2572"/>
                  </a:lnTo>
                  <a:lnTo>
                    <a:pt x="791" y="2583"/>
                  </a:lnTo>
                  <a:lnTo>
                    <a:pt x="818" y="2595"/>
                  </a:lnTo>
                  <a:lnTo>
                    <a:pt x="848" y="2605"/>
                  </a:lnTo>
                  <a:lnTo>
                    <a:pt x="877" y="2615"/>
                  </a:lnTo>
                  <a:lnTo>
                    <a:pt x="907" y="2625"/>
                  </a:lnTo>
                  <a:lnTo>
                    <a:pt x="937" y="2634"/>
                  </a:lnTo>
                  <a:lnTo>
                    <a:pt x="968" y="2642"/>
                  </a:lnTo>
                  <a:lnTo>
                    <a:pt x="999" y="2650"/>
                  </a:lnTo>
                  <a:lnTo>
                    <a:pt x="992" y="2627"/>
                  </a:lnTo>
                  <a:lnTo>
                    <a:pt x="987" y="2603"/>
                  </a:lnTo>
                  <a:lnTo>
                    <a:pt x="981" y="2577"/>
                  </a:lnTo>
                  <a:lnTo>
                    <a:pt x="976" y="2551"/>
                  </a:lnTo>
                  <a:lnTo>
                    <a:pt x="972" y="2523"/>
                  </a:lnTo>
                  <a:lnTo>
                    <a:pt x="968" y="2494"/>
                  </a:lnTo>
                  <a:lnTo>
                    <a:pt x="965" y="2463"/>
                  </a:lnTo>
                  <a:lnTo>
                    <a:pt x="962" y="2432"/>
                  </a:lnTo>
                  <a:lnTo>
                    <a:pt x="917" y="2422"/>
                  </a:lnTo>
                  <a:lnTo>
                    <a:pt x="874" y="2410"/>
                  </a:lnTo>
                  <a:lnTo>
                    <a:pt x="830" y="2398"/>
                  </a:lnTo>
                  <a:lnTo>
                    <a:pt x="787" y="2384"/>
                  </a:lnTo>
                  <a:lnTo>
                    <a:pt x="746" y="2370"/>
                  </a:lnTo>
                  <a:lnTo>
                    <a:pt x="706" y="2355"/>
                  </a:lnTo>
                  <a:lnTo>
                    <a:pt x="665" y="2339"/>
                  </a:lnTo>
                  <a:lnTo>
                    <a:pt x="626" y="2322"/>
                  </a:lnTo>
                  <a:close/>
                  <a:moveTo>
                    <a:pt x="716" y="2581"/>
                  </a:moveTo>
                  <a:lnTo>
                    <a:pt x="730" y="2597"/>
                  </a:lnTo>
                  <a:lnTo>
                    <a:pt x="745" y="2612"/>
                  </a:lnTo>
                  <a:lnTo>
                    <a:pt x="761" y="2625"/>
                  </a:lnTo>
                  <a:lnTo>
                    <a:pt x="777" y="2635"/>
                  </a:lnTo>
                  <a:lnTo>
                    <a:pt x="809" y="2651"/>
                  </a:lnTo>
                  <a:lnTo>
                    <a:pt x="841" y="2666"/>
                  </a:lnTo>
                  <a:lnTo>
                    <a:pt x="874" y="2680"/>
                  </a:lnTo>
                  <a:lnTo>
                    <a:pt x="906" y="2694"/>
                  </a:lnTo>
                  <a:lnTo>
                    <a:pt x="939" y="2705"/>
                  </a:lnTo>
                  <a:lnTo>
                    <a:pt x="973" y="2718"/>
                  </a:lnTo>
                  <a:lnTo>
                    <a:pt x="1007" y="2728"/>
                  </a:lnTo>
                  <a:lnTo>
                    <a:pt x="1042" y="2739"/>
                  </a:lnTo>
                  <a:lnTo>
                    <a:pt x="1033" y="2726"/>
                  </a:lnTo>
                  <a:lnTo>
                    <a:pt x="1025" y="2712"/>
                  </a:lnTo>
                  <a:lnTo>
                    <a:pt x="1018" y="2697"/>
                  </a:lnTo>
                  <a:lnTo>
                    <a:pt x="1011" y="2681"/>
                  </a:lnTo>
                  <a:lnTo>
                    <a:pt x="976" y="2672"/>
                  </a:lnTo>
                  <a:lnTo>
                    <a:pt x="943" y="2664"/>
                  </a:lnTo>
                  <a:lnTo>
                    <a:pt x="909" y="2653"/>
                  </a:lnTo>
                  <a:lnTo>
                    <a:pt x="877" y="2644"/>
                  </a:lnTo>
                  <a:lnTo>
                    <a:pt x="845" y="2633"/>
                  </a:lnTo>
                  <a:lnTo>
                    <a:pt x="814" y="2621"/>
                  </a:lnTo>
                  <a:lnTo>
                    <a:pt x="783" y="2610"/>
                  </a:lnTo>
                  <a:lnTo>
                    <a:pt x="752" y="2597"/>
                  </a:lnTo>
                  <a:lnTo>
                    <a:pt x="742" y="2592"/>
                  </a:lnTo>
                  <a:lnTo>
                    <a:pt x="733" y="2589"/>
                  </a:lnTo>
                  <a:lnTo>
                    <a:pt x="725" y="2585"/>
                  </a:lnTo>
                  <a:lnTo>
                    <a:pt x="716" y="2581"/>
                  </a:lnTo>
                  <a:close/>
                  <a:moveTo>
                    <a:pt x="1626" y="50"/>
                  </a:moveTo>
                  <a:lnTo>
                    <a:pt x="1601" y="46"/>
                  </a:lnTo>
                  <a:lnTo>
                    <a:pt x="1576" y="43"/>
                  </a:lnTo>
                  <a:lnTo>
                    <a:pt x="1551" y="39"/>
                  </a:lnTo>
                  <a:lnTo>
                    <a:pt x="1526" y="37"/>
                  </a:lnTo>
                  <a:lnTo>
                    <a:pt x="1499" y="35"/>
                  </a:lnTo>
                  <a:lnTo>
                    <a:pt x="1474" y="33"/>
                  </a:lnTo>
                  <a:lnTo>
                    <a:pt x="1447" y="32"/>
                  </a:lnTo>
                  <a:lnTo>
                    <a:pt x="1421" y="32"/>
                  </a:lnTo>
                  <a:lnTo>
                    <a:pt x="1421" y="86"/>
                  </a:lnTo>
                  <a:lnTo>
                    <a:pt x="1455" y="88"/>
                  </a:lnTo>
                  <a:lnTo>
                    <a:pt x="1489" y="91"/>
                  </a:lnTo>
                  <a:lnTo>
                    <a:pt x="1522" y="96"/>
                  </a:lnTo>
                  <a:lnTo>
                    <a:pt x="1555" y="101"/>
                  </a:lnTo>
                  <a:lnTo>
                    <a:pt x="1572" y="85"/>
                  </a:lnTo>
                  <a:lnTo>
                    <a:pt x="1590" y="72"/>
                  </a:lnTo>
                  <a:lnTo>
                    <a:pt x="1608" y="60"/>
                  </a:lnTo>
                  <a:lnTo>
                    <a:pt x="1626" y="50"/>
                  </a:lnTo>
                  <a:close/>
                  <a:moveTo>
                    <a:pt x="1421" y="283"/>
                  </a:moveTo>
                  <a:lnTo>
                    <a:pt x="1437" y="256"/>
                  </a:lnTo>
                  <a:lnTo>
                    <a:pt x="1453" y="230"/>
                  </a:lnTo>
                  <a:lnTo>
                    <a:pt x="1469" y="205"/>
                  </a:lnTo>
                  <a:lnTo>
                    <a:pt x="1485" y="182"/>
                  </a:lnTo>
                  <a:lnTo>
                    <a:pt x="1497" y="167"/>
                  </a:lnTo>
                  <a:lnTo>
                    <a:pt x="1508" y="152"/>
                  </a:lnTo>
                  <a:lnTo>
                    <a:pt x="1520" y="138"/>
                  </a:lnTo>
                  <a:lnTo>
                    <a:pt x="1531" y="125"/>
                  </a:lnTo>
                  <a:lnTo>
                    <a:pt x="1505" y="120"/>
                  </a:lnTo>
                  <a:lnTo>
                    <a:pt x="1477" y="116"/>
                  </a:lnTo>
                  <a:lnTo>
                    <a:pt x="1450" y="114"/>
                  </a:lnTo>
                  <a:lnTo>
                    <a:pt x="1421" y="113"/>
                  </a:lnTo>
                  <a:lnTo>
                    <a:pt x="1421" y="283"/>
                  </a:lnTo>
                  <a:close/>
                  <a:moveTo>
                    <a:pt x="1393" y="395"/>
                  </a:moveTo>
                  <a:lnTo>
                    <a:pt x="1377" y="430"/>
                  </a:lnTo>
                  <a:lnTo>
                    <a:pt x="1361" y="466"/>
                  </a:lnTo>
                  <a:lnTo>
                    <a:pt x="1346" y="502"/>
                  </a:lnTo>
                  <a:lnTo>
                    <a:pt x="1330" y="540"/>
                  </a:lnTo>
                  <a:lnTo>
                    <a:pt x="1315" y="580"/>
                  </a:lnTo>
                  <a:lnTo>
                    <a:pt x="1300" y="620"/>
                  </a:lnTo>
                  <a:lnTo>
                    <a:pt x="1285" y="661"/>
                  </a:lnTo>
                  <a:lnTo>
                    <a:pt x="1270" y="704"/>
                  </a:lnTo>
                  <a:lnTo>
                    <a:pt x="1300" y="710"/>
                  </a:lnTo>
                  <a:lnTo>
                    <a:pt x="1330" y="713"/>
                  </a:lnTo>
                  <a:lnTo>
                    <a:pt x="1362" y="717"/>
                  </a:lnTo>
                  <a:lnTo>
                    <a:pt x="1393" y="718"/>
                  </a:lnTo>
                  <a:lnTo>
                    <a:pt x="1393" y="395"/>
                  </a:lnTo>
                  <a:close/>
                  <a:moveTo>
                    <a:pt x="1261" y="729"/>
                  </a:moveTo>
                  <a:lnTo>
                    <a:pt x="1246" y="777"/>
                  </a:lnTo>
                  <a:lnTo>
                    <a:pt x="1231" y="824"/>
                  </a:lnTo>
                  <a:lnTo>
                    <a:pt x="1216" y="872"/>
                  </a:lnTo>
                  <a:lnTo>
                    <a:pt x="1201" y="922"/>
                  </a:lnTo>
                  <a:lnTo>
                    <a:pt x="1187" y="972"/>
                  </a:lnTo>
                  <a:lnTo>
                    <a:pt x="1173" y="1022"/>
                  </a:lnTo>
                  <a:lnTo>
                    <a:pt x="1161" y="1074"/>
                  </a:lnTo>
                  <a:lnTo>
                    <a:pt x="1147" y="1125"/>
                  </a:lnTo>
                  <a:lnTo>
                    <a:pt x="1177" y="1130"/>
                  </a:lnTo>
                  <a:lnTo>
                    <a:pt x="1207" y="1135"/>
                  </a:lnTo>
                  <a:lnTo>
                    <a:pt x="1237" y="1140"/>
                  </a:lnTo>
                  <a:lnTo>
                    <a:pt x="1268" y="1143"/>
                  </a:lnTo>
                  <a:lnTo>
                    <a:pt x="1299" y="1146"/>
                  </a:lnTo>
                  <a:lnTo>
                    <a:pt x="1330" y="1148"/>
                  </a:lnTo>
                  <a:lnTo>
                    <a:pt x="1362" y="1150"/>
                  </a:lnTo>
                  <a:lnTo>
                    <a:pt x="1393" y="1150"/>
                  </a:lnTo>
                  <a:lnTo>
                    <a:pt x="1393" y="745"/>
                  </a:lnTo>
                  <a:lnTo>
                    <a:pt x="1360" y="743"/>
                  </a:lnTo>
                  <a:lnTo>
                    <a:pt x="1325" y="741"/>
                  </a:lnTo>
                  <a:lnTo>
                    <a:pt x="1293" y="736"/>
                  </a:lnTo>
                  <a:lnTo>
                    <a:pt x="1261" y="729"/>
                  </a:lnTo>
                  <a:close/>
                  <a:moveTo>
                    <a:pt x="1141" y="1151"/>
                  </a:moveTo>
                  <a:lnTo>
                    <a:pt x="1138" y="1164"/>
                  </a:lnTo>
                  <a:lnTo>
                    <a:pt x="1135" y="1175"/>
                  </a:lnTo>
                  <a:lnTo>
                    <a:pt x="1132" y="1188"/>
                  </a:lnTo>
                  <a:lnTo>
                    <a:pt x="1129" y="1201"/>
                  </a:lnTo>
                  <a:lnTo>
                    <a:pt x="1118" y="1250"/>
                  </a:lnTo>
                  <a:lnTo>
                    <a:pt x="1106" y="1300"/>
                  </a:lnTo>
                  <a:lnTo>
                    <a:pt x="1096" y="1349"/>
                  </a:lnTo>
                  <a:lnTo>
                    <a:pt x="1086" y="1399"/>
                  </a:lnTo>
                  <a:lnTo>
                    <a:pt x="1076" y="1449"/>
                  </a:lnTo>
                  <a:lnTo>
                    <a:pt x="1067" y="1499"/>
                  </a:lnTo>
                  <a:lnTo>
                    <a:pt x="1058" y="1549"/>
                  </a:lnTo>
                  <a:lnTo>
                    <a:pt x="1050" y="1598"/>
                  </a:lnTo>
                  <a:lnTo>
                    <a:pt x="1090" y="1606"/>
                  </a:lnTo>
                  <a:lnTo>
                    <a:pt x="1133" y="1613"/>
                  </a:lnTo>
                  <a:lnTo>
                    <a:pt x="1174" y="1619"/>
                  </a:lnTo>
                  <a:lnTo>
                    <a:pt x="1218" y="1623"/>
                  </a:lnTo>
                  <a:lnTo>
                    <a:pt x="1261" y="1627"/>
                  </a:lnTo>
                  <a:lnTo>
                    <a:pt x="1305" y="1630"/>
                  </a:lnTo>
                  <a:lnTo>
                    <a:pt x="1349" y="1631"/>
                  </a:lnTo>
                  <a:lnTo>
                    <a:pt x="1393" y="1633"/>
                  </a:lnTo>
                  <a:lnTo>
                    <a:pt x="1393" y="1178"/>
                  </a:lnTo>
                  <a:lnTo>
                    <a:pt x="1361" y="1176"/>
                  </a:lnTo>
                  <a:lnTo>
                    <a:pt x="1329" y="1175"/>
                  </a:lnTo>
                  <a:lnTo>
                    <a:pt x="1296" y="1173"/>
                  </a:lnTo>
                  <a:lnTo>
                    <a:pt x="1264" y="1171"/>
                  </a:lnTo>
                  <a:lnTo>
                    <a:pt x="1233" y="1166"/>
                  </a:lnTo>
                  <a:lnTo>
                    <a:pt x="1202" y="1163"/>
                  </a:lnTo>
                  <a:lnTo>
                    <a:pt x="1171" y="1157"/>
                  </a:lnTo>
                  <a:lnTo>
                    <a:pt x="1141" y="1151"/>
                  </a:lnTo>
                  <a:close/>
                  <a:moveTo>
                    <a:pt x="1045" y="1626"/>
                  </a:moveTo>
                  <a:lnTo>
                    <a:pt x="1037" y="1680"/>
                  </a:lnTo>
                  <a:lnTo>
                    <a:pt x="1029" y="1733"/>
                  </a:lnTo>
                  <a:lnTo>
                    <a:pt x="1021" y="1787"/>
                  </a:lnTo>
                  <a:lnTo>
                    <a:pt x="1015" y="1839"/>
                  </a:lnTo>
                  <a:lnTo>
                    <a:pt x="1008" y="1892"/>
                  </a:lnTo>
                  <a:lnTo>
                    <a:pt x="1004" y="1943"/>
                  </a:lnTo>
                  <a:lnTo>
                    <a:pt x="998" y="1993"/>
                  </a:lnTo>
                  <a:lnTo>
                    <a:pt x="995" y="2043"/>
                  </a:lnTo>
                  <a:lnTo>
                    <a:pt x="1042" y="2053"/>
                  </a:lnTo>
                  <a:lnTo>
                    <a:pt x="1090" y="2061"/>
                  </a:lnTo>
                  <a:lnTo>
                    <a:pt x="1140" y="2068"/>
                  </a:lnTo>
                  <a:lnTo>
                    <a:pt x="1189" y="2075"/>
                  </a:lnTo>
                  <a:lnTo>
                    <a:pt x="1239" y="2080"/>
                  </a:lnTo>
                  <a:lnTo>
                    <a:pt x="1291" y="2083"/>
                  </a:lnTo>
                  <a:lnTo>
                    <a:pt x="1341" y="2085"/>
                  </a:lnTo>
                  <a:lnTo>
                    <a:pt x="1393" y="2087"/>
                  </a:lnTo>
                  <a:lnTo>
                    <a:pt x="1393" y="1660"/>
                  </a:lnTo>
                  <a:lnTo>
                    <a:pt x="1348" y="1659"/>
                  </a:lnTo>
                  <a:lnTo>
                    <a:pt x="1303" y="1658"/>
                  </a:lnTo>
                  <a:lnTo>
                    <a:pt x="1260" y="1655"/>
                  </a:lnTo>
                  <a:lnTo>
                    <a:pt x="1216" y="1651"/>
                  </a:lnTo>
                  <a:lnTo>
                    <a:pt x="1172" y="1645"/>
                  </a:lnTo>
                  <a:lnTo>
                    <a:pt x="1129" y="1640"/>
                  </a:lnTo>
                  <a:lnTo>
                    <a:pt x="1087" y="1633"/>
                  </a:lnTo>
                  <a:lnTo>
                    <a:pt x="1045" y="1626"/>
                  </a:lnTo>
                  <a:close/>
                  <a:moveTo>
                    <a:pt x="992" y="2070"/>
                  </a:moveTo>
                  <a:lnTo>
                    <a:pt x="990" y="2111"/>
                  </a:lnTo>
                  <a:lnTo>
                    <a:pt x="988" y="2150"/>
                  </a:lnTo>
                  <a:lnTo>
                    <a:pt x="987" y="2188"/>
                  </a:lnTo>
                  <a:lnTo>
                    <a:pt x="985" y="2226"/>
                  </a:lnTo>
                  <a:lnTo>
                    <a:pt x="984" y="2263"/>
                  </a:lnTo>
                  <a:lnTo>
                    <a:pt x="984" y="2299"/>
                  </a:lnTo>
                  <a:lnTo>
                    <a:pt x="984" y="2333"/>
                  </a:lnTo>
                  <a:lnTo>
                    <a:pt x="985" y="2368"/>
                  </a:lnTo>
                  <a:lnTo>
                    <a:pt x="987" y="2378"/>
                  </a:lnTo>
                  <a:lnTo>
                    <a:pt x="987" y="2390"/>
                  </a:lnTo>
                  <a:lnTo>
                    <a:pt x="987" y="2400"/>
                  </a:lnTo>
                  <a:lnTo>
                    <a:pt x="988" y="2410"/>
                  </a:lnTo>
                  <a:lnTo>
                    <a:pt x="1036" y="2420"/>
                  </a:lnTo>
                  <a:lnTo>
                    <a:pt x="1086" y="2429"/>
                  </a:lnTo>
                  <a:lnTo>
                    <a:pt x="1135" y="2436"/>
                  </a:lnTo>
                  <a:lnTo>
                    <a:pt x="1186" y="2441"/>
                  </a:lnTo>
                  <a:lnTo>
                    <a:pt x="1237" y="2446"/>
                  </a:lnTo>
                  <a:lnTo>
                    <a:pt x="1288" y="2451"/>
                  </a:lnTo>
                  <a:lnTo>
                    <a:pt x="1340" y="2453"/>
                  </a:lnTo>
                  <a:lnTo>
                    <a:pt x="1393" y="2453"/>
                  </a:lnTo>
                  <a:lnTo>
                    <a:pt x="1393" y="2114"/>
                  </a:lnTo>
                  <a:lnTo>
                    <a:pt x="1341" y="2113"/>
                  </a:lnTo>
                  <a:lnTo>
                    <a:pt x="1290" y="2111"/>
                  </a:lnTo>
                  <a:lnTo>
                    <a:pt x="1239" y="2107"/>
                  </a:lnTo>
                  <a:lnTo>
                    <a:pt x="1188" y="2103"/>
                  </a:lnTo>
                  <a:lnTo>
                    <a:pt x="1139" y="2096"/>
                  </a:lnTo>
                  <a:lnTo>
                    <a:pt x="1089" y="2089"/>
                  </a:lnTo>
                  <a:lnTo>
                    <a:pt x="1041" y="2081"/>
                  </a:lnTo>
                  <a:lnTo>
                    <a:pt x="992" y="2070"/>
                  </a:lnTo>
                  <a:close/>
                  <a:moveTo>
                    <a:pt x="990" y="2438"/>
                  </a:moveTo>
                  <a:lnTo>
                    <a:pt x="992" y="2471"/>
                  </a:lnTo>
                  <a:lnTo>
                    <a:pt x="996" y="2502"/>
                  </a:lnTo>
                  <a:lnTo>
                    <a:pt x="1000" y="2531"/>
                  </a:lnTo>
                  <a:lnTo>
                    <a:pt x="1005" y="2560"/>
                  </a:lnTo>
                  <a:lnTo>
                    <a:pt x="1010" y="2587"/>
                  </a:lnTo>
                  <a:lnTo>
                    <a:pt x="1017" y="2612"/>
                  </a:lnTo>
                  <a:lnTo>
                    <a:pt x="1022" y="2635"/>
                  </a:lnTo>
                  <a:lnTo>
                    <a:pt x="1030" y="2657"/>
                  </a:lnTo>
                  <a:lnTo>
                    <a:pt x="1073" y="2666"/>
                  </a:lnTo>
                  <a:lnTo>
                    <a:pt x="1118" y="2674"/>
                  </a:lnTo>
                  <a:lnTo>
                    <a:pt x="1162" y="2681"/>
                  </a:lnTo>
                  <a:lnTo>
                    <a:pt x="1208" y="2687"/>
                  </a:lnTo>
                  <a:lnTo>
                    <a:pt x="1254" y="2691"/>
                  </a:lnTo>
                  <a:lnTo>
                    <a:pt x="1300" y="2695"/>
                  </a:lnTo>
                  <a:lnTo>
                    <a:pt x="1346" y="2697"/>
                  </a:lnTo>
                  <a:lnTo>
                    <a:pt x="1393" y="2698"/>
                  </a:lnTo>
                  <a:lnTo>
                    <a:pt x="1393" y="2481"/>
                  </a:lnTo>
                  <a:lnTo>
                    <a:pt x="1341" y="2479"/>
                  </a:lnTo>
                  <a:lnTo>
                    <a:pt x="1290" y="2477"/>
                  </a:lnTo>
                  <a:lnTo>
                    <a:pt x="1238" y="2474"/>
                  </a:lnTo>
                  <a:lnTo>
                    <a:pt x="1187" y="2469"/>
                  </a:lnTo>
                  <a:lnTo>
                    <a:pt x="1136" y="2463"/>
                  </a:lnTo>
                  <a:lnTo>
                    <a:pt x="1087" y="2456"/>
                  </a:lnTo>
                  <a:lnTo>
                    <a:pt x="1038" y="2448"/>
                  </a:lnTo>
                  <a:lnTo>
                    <a:pt x="990" y="2438"/>
                  </a:lnTo>
                  <a:close/>
                  <a:moveTo>
                    <a:pt x="1043" y="2688"/>
                  </a:moveTo>
                  <a:lnTo>
                    <a:pt x="1053" y="2708"/>
                  </a:lnTo>
                  <a:lnTo>
                    <a:pt x="1065" y="2725"/>
                  </a:lnTo>
                  <a:lnTo>
                    <a:pt x="1071" y="2732"/>
                  </a:lnTo>
                  <a:lnTo>
                    <a:pt x="1078" y="2739"/>
                  </a:lnTo>
                  <a:lnTo>
                    <a:pt x="1083" y="2746"/>
                  </a:lnTo>
                  <a:lnTo>
                    <a:pt x="1090" y="2750"/>
                  </a:lnTo>
                  <a:lnTo>
                    <a:pt x="1127" y="2758"/>
                  </a:lnTo>
                  <a:lnTo>
                    <a:pt x="1164" y="2766"/>
                  </a:lnTo>
                  <a:lnTo>
                    <a:pt x="1202" y="2772"/>
                  </a:lnTo>
                  <a:lnTo>
                    <a:pt x="1240" y="2777"/>
                  </a:lnTo>
                  <a:lnTo>
                    <a:pt x="1278" y="2781"/>
                  </a:lnTo>
                  <a:lnTo>
                    <a:pt x="1316" y="2785"/>
                  </a:lnTo>
                  <a:lnTo>
                    <a:pt x="1355" y="2786"/>
                  </a:lnTo>
                  <a:lnTo>
                    <a:pt x="1393" y="2787"/>
                  </a:lnTo>
                  <a:lnTo>
                    <a:pt x="1393" y="2725"/>
                  </a:lnTo>
                  <a:lnTo>
                    <a:pt x="1348" y="2725"/>
                  </a:lnTo>
                  <a:lnTo>
                    <a:pt x="1303" y="2723"/>
                  </a:lnTo>
                  <a:lnTo>
                    <a:pt x="1258" y="2719"/>
                  </a:lnTo>
                  <a:lnTo>
                    <a:pt x="1215" y="2714"/>
                  </a:lnTo>
                  <a:lnTo>
                    <a:pt x="1171" y="2710"/>
                  </a:lnTo>
                  <a:lnTo>
                    <a:pt x="1128" y="2703"/>
                  </a:lnTo>
                  <a:lnTo>
                    <a:pt x="1086" y="2696"/>
                  </a:lnTo>
                  <a:lnTo>
                    <a:pt x="1043" y="2688"/>
                  </a:lnTo>
                  <a:close/>
                </a:path>
              </a:pathLst>
            </a:custGeom>
            <a:solidFill>
              <a:schemeClr val="tx1">
                <a:alpha val="8000"/>
              </a:schemeClr>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latin typeface="Calibri"/>
              </a:endParaRPr>
            </a:p>
          </p:txBody>
        </p:sp>
        <p:sp>
          <p:nvSpPr>
            <p:cNvPr id="7" name="Freeform 7"/>
            <p:cNvSpPr>
              <a:spLocks noEditPoints="1"/>
            </p:cNvSpPr>
            <p:nvPr>
              <p:custDataLst>
                <p:tags r:id="rId12"/>
              </p:custDataLst>
            </p:nvPr>
          </p:nvSpPr>
          <p:spPr bwMode="auto">
            <a:xfrm>
              <a:off x="3049913" y="1945092"/>
              <a:ext cx="2923243" cy="2964928"/>
            </a:xfrm>
            <a:custGeom>
              <a:avLst/>
              <a:gdLst>
                <a:gd name="T0" fmla="*/ 2086 w 3368"/>
                <a:gd name="T1" fmla="*/ 3009 h 3413"/>
                <a:gd name="T2" fmla="*/ 1977 w 3368"/>
                <a:gd name="T3" fmla="*/ 2658 h 3413"/>
                <a:gd name="T4" fmla="*/ 1520 w 3368"/>
                <a:gd name="T5" fmla="*/ 2419 h 3413"/>
                <a:gd name="T6" fmla="*/ 1075 w 3368"/>
                <a:gd name="T7" fmla="*/ 2019 h 3413"/>
                <a:gd name="T8" fmla="*/ 1605 w 3368"/>
                <a:gd name="T9" fmla="*/ 1705 h 3413"/>
                <a:gd name="T10" fmla="*/ 1763 w 3368"/>
                <a:gd name="T11" fmla="*/ 1480 h 3413"/>
                <a:gd name="T12" fmla="*/ 1844 w 3368"/>
                <a:gd name="T13" fmla="*/ 1308 h 3413"/>
                <a:gd name="T14" fmla="*/ 1409 w 3368"/>
                <a:gd name="T15" fmla="*/ 1104 h 3413"/>
                <a:gd name="T16" fmla="*/ 1085 w 3368"/>
                <a:gd name="T17" fmla="*/ 1192 h 3413"/>
                <a:gd name="T18" fmla="*/ 1303 w 3368"/>
                <a:gd name="T19" fmla="*/ 650 h 3413"/>
                <a:gd name="T20" fmla="*/ 1544 w 3368"/>
                <a:gd name="T21" fmla="*/ 928 h 3413"/>
                <a:gd name="T22" fmla="*/ 1640 w 3368"/>
                <a:gd name="T23" fmla="*/ 645 h 3413"/>
                <a:gd name="T24" fmla="*/ 1432 w 3368"/>
                <a:gd name="T25" fmla="*/ 528 h 3413"/>
                <a:gd name="T26" fmla="*/ 1209 w 3368"/>
                <a:gd name="T27" fmla="*/ 612 h 3413"/>
                <a:gd name="T28" fmla="*/ 1225 w 3368"/>
                <a:gd name="T29" fmla="*/ 449 h 3413"/>
                <a:gd name="T30" fmla="*/ 1009 w 3368"/>
                <a:gd name="T31" fmla="*/ 706 h 3413"/>
                <a:gd name="T32" fmla="*/ 569 w 3368"/>
                <a:gd name="T33" fmla="*/ 746 h 3413"/>
                <a:gd name="T34" fmla="*/ 228 w 3368"/>
                <a:gd name="T35" fmla="*/ 815 h 3413"/>
                <a:gd name="T36" fmla="*/ 119 w 3368"/>
                <a:gd name="T37" fmla="*/ 1252 h 3413"/>
                <a:gd name="T38" fmla="*/ 172 w 3368"/>
                <a:gd name="T39" fmla="*/ 1221 h 3413"/>
                <a:gd name="T40" fmla="*/ 474 w 3368"/>
                <a:gd name="T41" fmla="*/ 1471 h 3413"/>
                <a:gd name="T42" fmla="*/ 745 w 3368"/>
                <a:gd name="T43" fmla="*/ 2035 h 3413"/>
                <a:gd name="T44" fmla="*/ 1382 w 3368"/>
                <a:gd name="T45" fmla="*/ 2640 h 3413"/>
                <a:gd name="T46" fmla="*/ 1525 w 3368"/>
                <a:gd name="T47" fmla="*/ 3323 h 3413"/>
                <a:gd name="T48" fmla="*/ 2841 w 3368"/>
                <a:gd name="T49" fmla="*/ 474 h 3413"/>
                <a:gd name="T50" fmla="*/ 3285 w 3368"/>
                <a:gd name="T51" fmla="*/ 1962 h 3413"/>
                <a:gd name="T52" fmla="*/ 2933 w 3368"/>
                <a:gd name="T53" fmla="*/ 2751 h 3413"/>
                <a:gd name="T54" fmla="*/ 2773 w 3368"/>
                <a:gd name="T55" fmla="*/ 1997 h 3413"/>
                <a:gd name="T56" fmla="*/ 3296 w 3368"/>
                <a:gd name="T57" fmla="*/ 1809 h 3413"/>
                <a:gd name="T58" fmla="*/ 3130 w 3368"/>
                <a:gd name="T59" fmla="*/ 1786 h 3413"/>
                <a:gd name="T60" fmla="*/ 2922 w 3368"/>
                <a:gd name="T61" fmla="*/ 1623 h 3413"/>
                <a:gd name="T62" fmla="*/ 2971 w 3368"/>
                <a:gd name="T63" fmla="*/ 1157 h 3413"/>
                <a:gd name="T64" fmla="*/ 3175 w 3368"/>
                <a:gd name="T65" fmla="*/ 943 h 3413"/>
                <a:gd name="T66" fmla="*/ 1384 w 3368"/>
                <a:gd name="T67" fmla="*/ 1012 h 3413"/>
                <a:gd name="T68" fmla="*/ 1282 w 3368"/>
                <a:gd name="T69" fmla="*/ 186 h 3413"/>
                <a:gd name="T70" fmla="*/ 1093 w 3368"/>
                <a:gd name="T71" fmla="*/ 389 h 3413"/>
                <a:gd name="T72" fmla="*/ 1146 w 3368"/>
                <a:gd name="T73" fmla="*/ 424 h 3413"/>
                <a:gd name="T74" fmla="*/ 1272 w 3368"/>
                <a:gd name="T75" fmla="*/ 360 h 3413"/>
                <a:gd name="T76" fmla="*/ 1441 w 3368"/>
                <a:gd name="T77" fmla="*/ 230 h 3413"/>
                <a:gd name="T78" fmla="*/ 1683 w 3368"/>
                <a:gd name="T79" fmla="*/ 52 h 3413"/>
                <a:gd name="T80" fmla="*/ 1399 w 3368"/>
                <a:gd name="T81" fmla="*/ 32 h 3413"/>
                <a:gd name="T82" fmla="*/ 1396 w 3368"/>
                <a:gd name="T83" fmla="*/ 93 h 3413"/>
                <a:gd name="T84" fmla="*/ 1390 w 3368"/>
                <a:gd name="T85" fmla="*/ 176 h 3413"/>
                <a:gd name="T86" fmla="*/ 1129 w 3368"/>
                <a:gd name="T87" fmla="*/ 302 h 3413"/>
                <a:gd name="T88" fmla="*/ 1006 w 3368"/>
                <a:gd name="T89" fmla="*/ 220 h 3413"/>
                <a:gd name="T90" fmla="*/ 867 w 3368"/>
                <a:gd name="T91" fmla="*/ 311 h 3413"/>
                <a:gd name="T92" fmla="*/ 809 w 3368"/>
                <a:gd name="T93" fmla="*/ 483 h 3413"/>
                <a:gd name="T94" fmla="*/ 766 w 3368"/>
                <a:gd name="T95" fmla="*/ 454 h 3413"/>
                <a:gd name="T96" fmla="*/ 651 w 3368"/>
                <a:gd name="T97" fmla="*/ 536 h 3413"/>
                <a:gd name="T98" fmla="*/ 883 w 3368"/>
                <a:gd name="T99" fmla="*/ 602 h 3413"/>
                <a:gd name="T100" fmla="*/ 727 w 3368"/>
                <a:gd name="T101" fmla="*/ 693 h 3413"/>
                <a:gd name="T102" fmla="*/ 1494 w 3368"/>
                <a:gd name="T103" fmla="*/ 2238 h 3413"/>
                <a:gd name="T104" fmla="*/ 2161 w 3368"/>
                <a:gd name="T105" fmla="*/ 976 h 3413"/>
                <a:gd name="T106" fmla="*/ 2422 w 3368"/>
                <a:gd name="T107" fmla="*/ 545 h 3413"/>
                <a:gd name="T108" fmla="*/ 2417 w 3368"/>
                <a:gd name="T109" fmla="*/ 232 h 3413"/>
                <a:gd name="T110" fmla="*/ 2251 w 3368"/>
                <a:gd name="T111" fmla="*/ 126 h 3413"/>
                <a:gd name="T112" fmla="*/ 1990 w 3368"/>
                <a:gd name="T113" fmla="*/ 26 h 3413"/>
                <a:gd name="T114" fmla="*/ 1793 w 3368"/>
                <a:gd name="T115" fmla="*/ 52 h 3413"/>
                <a:gd name="T116" fmla="*/ 1659 w 3368"/>
                <a:gd name="T117" fmla="*/ 245 h 3413"/>
                <a:gd name="T118" fmla="*/ 1931 w 3368"/>
                <a:gd name="T119" fmla="*/ 549 h 3413"/>
                <a:gd name="T120" fmla="*/ 1995 w 3368"/>
                <a:gd name="T121" fmla="*/ 945 h 3413"/>
                <a:gd name="T122" fmla="*/ 2491 w 3368"/>
                <a:gd name="T123" fmla="*/ 915 h 3413"/>
                <a:gd name="T124" fmla="*/ 2880 w 3368"/>
                <a:gd name="T125" fmla="*/ 1232 h 3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68" h="3413">
                  <a:moveTo>
                    <a:pt x="1713" y="3405"/>
                  </a:moveTo>
                  <a:lnTo>
                    <a:pt x="1708" y="3404"/>
                  </a:lnTo>
                  <a:lnTo>
                    <a:pt x="1693" y="3404"/>
                  </a:lnTo>
                  <a:lnTo>
                    <a:pt x="1676" y="3403"/>
                  </a:lnTo>
                  <a:lnTo>
                    <a:pt x="1664" y="3402"/>
                  </a:lnTo>
                  <a:lnTo>
                    <a:pt x="1651" y="3399"/>
                  </a:lnTo>
                  <a:lnTo>
                    <a:pt x="1642" y="3394"/>
                  </a:lnTo>
                  <a:lnTo>
                    <a:pt x="1644" y="3393"/>
                  </a:lnTo>
                  <a:lnTo>
                    <a:pt x="1646" y="3392"/>
                  </a:lnTo>
                  <a:lnTo>
                    <a:pt x="1646" y="3391"/>
                  </a:lnTo>
                  <a:lnTo>
                    <a:pt x="1645" y="3390"/>
                  </a:lnTo>
                  <a:lnTo>
                    <a:pt x="1644" y="3389"/>
                  </a:lnTo>
                  <a:lnTo>
                    <a:pt x="1643" y="3387"/>
                  </a:lnTo>
                  <a:lnTo>
                    <a:pt x="1644" y="3386"/>
                  </a:lnTo>
                  <a:lnTo>
                    <a:pt x="1644" y="3384"/>
                  </a:lnTo>
                  <a:lnTo>
                    <a:pt x="1633" y="3380"/>
                  </a:lnTo>
                  <a:lnTo>
                    <a:pt x="1627" y="3375"/>
                  </a:lnTo>
                  <a:lnTo>
                    <a:pt x="1633" y="3373"/>
                  </a:lnTo>
                  <a:lnTo>
                    <a:pt x="1643" y="3371"/>
                  </a:lnTo>
                  <a:lnTo>
                    <a:pt x="1647" y="3369"/>
                  </a:lnTo>
                  <a:lnTo>
                    <a:pt x="1651" y="3368"/>
                  </a:lnTo>
                  <a:lnTo>
                    <a:pt x="1655" y="3367"/>
                  </a:lnTo>
                  <a:lnTo>
                    <a:pt x="1656" y="3365"/>
                  </a:lnTo>
                  <a:lnTo>
                    <a:pt x="1655" y="3363"/>
                  </a:lnTo>
                  <a:lnTo>
                    <a:pt x="1654" y="3360"/>
                  </a:lnTo>
                  <a:lnTo>
                    <a:pt x="1654" y="3359"/>
                  </a:lnTo>
                  <a:lnTo>
                    <a:pt x="1654" y="3359"/>
                  </a:lnTo>
                  <a:lnTo>
                    <a:pt x="1656" y="3358"/>
                  </a:lnTo>
                  <a:lnTo>
                    <a:pt x="1659" y="3357"/>
                  </a:lnTo>
                  <a:lnTo>
                    <a:pt x="1673" y="3352"/>
                  </a:lnTo>
                  <a:lnTo>
                    <a:pt x="1682" y="3348"/>
                  </a:lnTo>
                  <a:lnTo>
                    <a:pt x="1682" y="3347"/>
                  </a:lnTo>
                  <a:lnTo>
                    <a:pt x="1681" y="3344"/>
                  </a:lnTo>
                  <a:lnTo>
                    <a:pt x="1679" y="3341"/>
                  </a:lnTo>
                  <a:lnTo>
                    <a:pt x="1674" y="3338"/>
                  </a:lnTo>
                  <a:lnTo>
                    <a:pt x="1670" y="3337"/>
                  </a:lnTo>
                  <a:lnTo>
                    <a:pt x="1663" y="3334"/>
                  </a:lnTo>
                  <a:lnTo>
                    <a:pt x="1660" y="3333"/>
                  </a:lnTo>
                  <a:lnTo>
                    <a:pt x="1657" y="3330"/>
                  </a:lnTo>
                  <a:lnTo>
                    <a:pt x="1656" y="3329"/>
                  </a:lnTo>
                  <a:lnTo>
                    <a:pt x="1656" y="3328"/>
                  </a:lnTo>
                  <a:lnTo>
                    <a:pt x="1656" y="3325"/>
                  </a:lnTo>
                  <a:lnTo>
                    <a:pt x="1657" y="3323"/>
                  </a:lnTo>
                  <a:lnTo>
                    <a:pt x="1660" y="3321"/>
                  </a:lnTo>
                  <a:lnTo>
                    <a:pt x="1665" y="3321"/>
                  </a:lnTo>
                  <a:lnTo>
                    <a:pt x="1680" y="3319"/>
                  </a:lnTo>
                  <a:lnTo>
                    <a:pt x="1690" y="3316"/>
                  </a:lnTo>
                  <a:lnTo>
                    <a:pt x="1691" y="3314"/>
                  </a:lnTo>
                  <a:lnTo>
                    <a:pt x="1690" y="3309"/>
                  </a:lnTo>
                  <a:lnTo>
                    <a:pt x="1690" y="3306"/>
                  </a:lnTo>
                  <a:lnTo>
                    <a:pt x="1690" y="3304"/>
                  </a:lnTo>
                  <a:lnTo>
                    <a:pt x="1692" y="3301"/>
                  </a:lnTo>
                  <a:lnTo>
                    <a:pt x="1696" y="3300"/>
                  </a:lnTo>
                  <a:lnTo>
                    <a:pt x="1705" y="3297"/>
                  </a:lnTo>
                  <a:lnTo>
                    <a:pt x="1714" y="3296"/>
                  </a:lnTo>
                  <a:lnTo>
                    <a:pt x="1717" y="3295"/>
                  </a:lnTo>
                  <a:lnTo>
                    <a:pt x="1721" y="3294"/>
                  </a:lnTo>
                  <a:lnTo>
                    <a:pt x="1723" y="3292"/>
                  </a:lnTo>
                  <a:lnTo>
                    <a:pt x="1723" y="3290"/>
                  </a:lnTo>
                  <a:lnTo>
                    <a:pt x="1722" y="3286"/>
                  </a:lnTo>
                  <a:lnTo>
                    <a:pt x="1717" y="3284"/>
                  </a:lnTo>
                  <a:lnTo>
                    <a:pt x="1712" y="3282"/>
                  </a:lnTo>
                  <a:lnTo>
                    <a:pt x="1706" y="3281"/>
                  </a:lnTo>
                  <a:lnTo>
                    <a:pt x="1701" y="3279"/>
                  </a:lnTo>
                  <a:lnTo>
                    <a:pt x="1696" y="3278"/>
                  </a:lnTo>
                  <a:lnTo>
                    <a:pt x="1695" y="3278"/>
                  </a:lnTo>
                  <a:lnTo>
                    <a:pt x="1694" y="3277"/>
                  </a:lnTo>
                  <a:lnTo>
                    <a:pt x="1694" y="3277"/>
                  </a:lnTo>
                  <a:lnTo>
                    <a:pt x="1695" y="3276"/>
                  </a:lnTo>
                  <a:lnTo>
                    <a:pt x="1706" y="3274"/>
                  </a:lnTo>
                  <a:lnTo>
                    <a:pt x="1721" y="3273"/>
                  </a:lnTo>
                  <a:lnTo>
                    <a:pt x="1728" y="3272"/>
                  </a:lnTo>
                  <a:lnTo>
                    <a:pt x="1734" y="3271"/>
                  </a:lnTo>
                  <a:lnTo>
                    <a:pt x="1739" y="3270"/>
                  </a:lnTo>
                  <a:lnTo>
                    <a:pt x="1743" y="3268"/>
                  </a:lnTo>
                  <a:lnTo>
                    <a:pt x="1747" y="3255"/>
                  </a:lnTo>
                  <a:lnTo>
                    <a:pt x="1753" y="3246"/>
                  </a:lnTo>
                  <a:lnTo>
                    <a:pt x="1768" y="3243"/>
                  </a:lnTo>
                  <a:lnTo>
                    <a:pt x="1793" y="3241"/>
                  </a:lnTo>
                  <a:lnTo>
                    <a:pt x="1804" y="3239"/>
                  </a:lnTo>
                  <a:lnTo>
                    <a:pt x="1816" y="3237"/>
                  </a:lnTo>
                  <a:lnTo>
                    <a:pt x="1824" y="3236"/>
                  </a:lnTo>
                  <a:lnTo>
                    <a:pt x="1827" y="3234"/>
                  </a:lnTo>
                  <a:lnTo>
                    <a:pt x="1841" y="3219"/>
                  </a:lnTo>
                  <a:lnTo>
                    <a:pt x="1851" y="3210"/>
                  </a:lnTo>
                  <a:lnTo>
                    <a:pt x="1847" y="3208"/>
                  </a:lnTo>
                  <a:lnTo>
                    <a:pt x="1841" y="3204"/>
                  </a:lnTo>
                  <a:lnTo>
                    <a:pt x="1838" y="3200"/>
                  </a:lnTo>
                  <a:lnTo>
                    <a:pt x="1836" y="3198"/>
                  </a:lnTo>
                  <a:lnTo>
                    <a:pt x="1836" y="3197"/>
                  </a:lnTo>
                  <a:lnTo>
                    <a:pt x="1835" y="3196"/>
                  </a:lnTo>
                  <a:lnTo>
                    <a:pt x="1836" y="3195"/>
                  </a:lnTo>
                  <a:lnTo>
                    <a:pt x="1837" y="3194"/>
                  </a:lnTo>
                  <a:lnTo>
                    <a:pt x="1845" y="3192"/>
                  </a:lnTo>
                  <a:lnTo>
                    <a:pt x="1858" y="3190"/>
                  </a:lnTo>
                  <a:lnTo>
                    <a:pt x="1870" y="3188"/>
                  </a:lnTo>
                  <a:lnTo>
                    <a:pt x="1877" y="3187"/>
                  </a:lnTo>
                  <a:lnTo>
                    <a:pt x="1881" y="3186"/>
                  </a:lnTo>
                  <a:lnTo>
                    <a:pt x="1889" y="3183"/>
                  </a:lnTo>
                  <a:lnTo>
                    <a:pt x="1900" y="3177"/>
                  </a:lnTo>
                  <a:lnTo>
                    <a:pt x="1909" y="3172"/>
                  </a:lnTo>
                  <a:lnTo>
                    <a:pt x="1923" y="3161"/>
                  </a:lnTo>
                  <a:lnTo>
                    <a:pt x="1934" y="3148"/>
                  </a:lnTo>
                  <a:lnTo>
                    <a:pt x="1947" y="3138"/>
                  </a:lnTo>
                  <a:lnTo>
                    <a:pt x="1958" y="3128"/>
                  </a:lnTo>
                  <a:lnTo>
                    <a:pt x="1964" y="3123"/>
                  </a:lnTo>
                  <a:lnTo>
                    <a:pt x="1969" y="3117"/>
                  </a:lnTo>
                  <a:lnTo>
                    <a:pt x="1973" y="3110"/>
                  </a:lnTo>
                  <a:lnTo>
                    <a:pt x="1975" y="3105"/>
                  </a:lnTo>
                  <a:lnTo>
                    <a:pt x="1988" y="3099"/>
                  </a:lnTo>
                  <a:lnTo>
                    <a:pt x="1997" y="3093"/>
                  </a:lnTo>
                  <a:lnTo>
                    <a:pt x="1999" y="3085"/>
                  </a:lnTo>
                  <a:lnTo>
                    <a:pt x="2001" y="3078"/>
                  </a:lnTo>
                  <a:lnTo>
                    <a:pt x="2001" y="3070"/>
                  </a:lnTo>
                  <a:lnTo>
                    <a:pt x="2002" y="3059"/>
                  </a:lnTo>
                  <a:lnTo>
                    <a:pt x="2003" y="3054"/>
                  </a:lnTo>
                  <a:lnTo>
                    <a:pt x="2006" y="3049"/>
                  </a:lnTo>
                  <a:lnTo>
                    <a:pt x="2009" y="3045"/>
                  </a:lnTo>
                  <a:lnTo>
                    <a:pt x="2012" y="3043"/>
                  </a:lnTo>
                  <a:lnTo>
                    <a:pt x="2020" y="3039"/>
                  </a:lnTo>
                  <a:lnTo>
                    <a:pt x="2029" y="3033"/>
                  </a:lnTo>
                  <a:lnTo>
                    <a:pt x="2038" y="3026"/>
                  </a:lnTo>
                  <a:lnTo>
                    <a:pt x="2045" y="3020"/>
                  </a:lnTo>
                  <a:lnTo>
                    <a:pt x="2060" y="3016"/>
                  </a:lnTo>
                  <a:lnTo>
                    <a:pt x="2077" y="3013"/>
                  </a:lnTo>
                  <a:lnTo>
                    <a:pt x="2086" y="3009"/>
                  </a:lnTo>
                  <a:lnTo>
                    <a:pt x="2097" y="3005"/>
                  </a:lnTo>
                  <a:lnTo>
                    <a:pt x="2107" y="3001"/>
                  </a:lnTo>
                  <a:lnTo>
                    <a:pt x="2116" y="3000"/>
                  </a:lnTo>
                  <a:lnTo>
                    <a:pt x="2121" y="3000"/>
                  </a:lnTo>
                  <a:lnTo>
                    <a:pt x="2125" y="3000"/>
                  </a:lnTo>
                  <a:lnTo>
                    <a:pt x="2129" y="3000"/>
                  </a:lnTo>
                  <a:lnTo>
                    <a:pt x="2133" y="2997"/>
                  </a:lnTo>
                  <a:lnTo>
                    <a:pt x="2140" y="2992"/>
                  </a:lnTo>
                  <a:lnTo>
                    <a:pt x="2147" y="2985"/>
                  </a:lnTo>
                  <a:lnTo>
                    <a:pt x="2149" y="2982"/>
                  </a:lnTo>
                  <a:lnTo>
                    <a:pt x="2150" y="2978"/>
                  </a:lnTo>
                  <a:lnTo>
                    <a:pt x="2151" y="2974"/>
                  </a:lnTo>
                  <a:lnTo>
                    <a:pt x="2152" y="2971"/>
                  </a:lnTo>
                  <a:lnTo>
                    <a:pt x="2152" y="2967"/>
                  </a:lnTo>
                  <a:lnTo>
                    <a:pt x="2154" y="2964"/>
                  </a:lnTo>
                  <a:lnTo>
                    <a:pt x="2156" y="2961"/>
                  </a:lnTo>
                  <a:lnTo>
                    <a:pt x="2160" y="2957"/>
                  </a:lnTo>
                  <a:lnTo>
                    <a:pt x="2167" y="2953"/>
                  </a:lnTo>
                  <a:lnTo>
                    <a:pt x="2174" y="2949"/>
                  </a:lnTo>
                  <a:lnTo>
                    <a:pt x="2178" y="2945"/>
                  </a:lnTo>
                  <a:lnTo>
                    <a:pt x="2180" y="2941"/>
                  </a:lnTo>
                  <a:lnTo>
                    <a:pt x="2182" y="2934"/>
                  </a:lnTo>
                  <a:lnTo>
                    <a:pt x="2184" y="2926"/>
                  </a:lnTo>
                  <a:lnTo>
                    <a:pt x="2186" y="2918"/>
                  </a:lnTo>
                  <a:lnTo>
                    <a:pt x="2189" y="2912"/>
                  </a:lnTo>
                  <a:lnTo>
                    <a:pt x="2192" y="2897"/>
                  </a:lnTo>
                  <a:lnTo>
                    <a:pt x="2196" y="2869"/>
                  </a:lnTo>
                  <a:lnTo>
                    <a:pt x="2198" y="2855"/>
                  </a:lnTo>
                  <a:lnTo>
                    <a:pt x="2200" y="2842"/>
                  </a:lnTo>
                  <a:lnTo>
                    <a:pt x="2203" y="2834"/>
                  </a:lnTo>
                  <a:lnTo>
                    <a:pt x="2205" y="2830"/>
                  </a:lnTo>
                  <a:lnTo>
                    <a:pt x="2209" y="2829"/>
                  </a:lnTo>
                  <a:lnTo>
                    <a:pt x="2214" y="2826"/>
                  </a:lnTo>
                  <a:lnTo>
                    <a:pt x="2219" y="2823"/>
                  </a:lnTo>
                  <a:lnTo>
                    <a:pt x="2224" y="2820"/>
                  </a:lnTo>
                  <a:lnTo>
                    <a:pt x="2228" y="2815"/>
                  </a:lnTo>
                  <a:lnTo>
                    <a:pt x="2232" y="2808"/>
                  </a:lnTo>
                  <a:lnTo>
                    <a:pt x="2235" y="2803"/>
                  </a:lnTo>
                  <a:lnTo>
                    <a:pt x="2237" y="2801"/>
                  </a:lnTo>
                  <a:lnTo>
                    <a:pt x="2240" y="2798"/>
                  </a:lnTo>
                  <a:lnTo>
                    <a:pt x="2242" y="2797"/>
                  </a:lnTo>
                  <a:lnTo>
                    <a:pt x="2248" y="2795"/>
                  </a:lnTo>
                  <a:lnTo>
                    <a:pt x="2253" y="2791"/>
                  </a:lnTo>
                  <a:lnTo>
                    <a:pt x="2257" y="2787"/>
                  </a:lnTo>
                  <a:lnTo>
                    <a:pt x="2260" y="2783"/>
                  </a:lnTo>
                  <a:lnTo>
                    <a:pt x="2269" y="2776"/>
                  </a:lnTo>
                  <a:lnTo>
                    <a:pt x="2279" y="2769"/>
                  </a:lnTo>
                  <a:lnTo>
                    <a:pt x="2281" y="2767"/>
                  </a:lnTo>
                  <a:lnTo>
                    <a:pt x="2283" y="2765"/>
                  </a:lnTo>
                  <a:lnTo>
                    <a:pt x="2285" y="2760"/>
                  </a:lnTo>
                  <a:lnTo>
                    <a:pt x="2286" y="2751"/>
                  </a:lnTo>
                  <a:lnTo>
                    <a:pt x="2287" y="2739"/>
                  </a:lnTo>
                  <a:lnTo>
                    <a:pt x="2288" y="2730"/>
                  </a:lnTo>
                  <a:lnTo>
                    <a:pt x="2288" y="2722"/>
                  </a:lnTo>
                  <a:lnTo>
                    <a:pt x="2286" y="2717"/>
                  </a:lnTo>
                  <a:lnTo>
                    <a:pt x="2285" y="2715"/>
                  </a:lnTo>
                  <a:lnTo>
                    <a:pt x="2282" y="2713"/>
                  </a:lnTo>
                  <a:lnTo>
                    <a:pt x="2279" y="2711"/>
                  </a:lnTo>
                  <a:lnTo>
                    <a:pt x="2275" y="2709"/>
                  </a:lnTo>
                  <a:lnTo>
                    <a:pt x="2265" y="2706"/>
                  </a:lnTo>
                  <a:lnTo>
                    <a:pt x="2256" y="2702"/>
                  </a:lnTo>
                  <a:lnTo>
                    <a:pt x="2250" y="2700"/>
                  </a:lnTo>
                  <a:lnTo>
                    <a:pt x="2244" y="2699"/>
                  </a:lnTo>
                  <a:lnTo>
                    <a:pt x="2240" y="2697"/>
                  </a:lnTo>
                  <a:lnTo>
                    <a:pt x="2233" y="2691"/>
                  </a:lnTo>
                  <a:lnTo>
                    <a:pt x="2226" y="2684"/>
                  </a:lnTo>
                  <a:lnTo>
                    <a:pt x="2219" y="2678"/>
                  </a:lnTo>
                  <a:lnTo>
                    <a:pt x="2215" y="2676"/>
                  </a:lnTo>
                  <a:lnTo>
                    <a:pt x="2212" y="2673"/>
                  </a:lnTo>
                  <a:lnTo>
                    <a:pt x="2207" y="2671"/>
                  </a:lnTo>
                  <a:lnTo>
                    <a:pt x="2202" y="2671"/>
                  </a:lnTo>
                  <a:lnTo>
                    <a:pt x="2187" y="2671"/>
                  </a:lnTo>
                  <a:lnTo>
                    <a:pt x="2167" y="2673"/>
                  </a:lnTo>
                  <a:lnTo>
                    <a:pt x="2158" y="2675"/>
                  </a:lnTo>
                  <a:lnTo>
                    <a:pt x="2148" y="2675"/>
                  </a:lnTo>
                  <a:lnTo>
                    <a:pt x="2142" y="2675"/>
                  </a:lnTo>
                  <a:lnTo>
                    <a:pt x="2137" y="2673"/>
                  </a:lnTo>
                  <a:lnTo>
                    <a:pt x="2130" y="2669"/>
                  </a:lnTo>
                  <a:lnTo>
                    <a:pt x="2124" y="2666"/>
                  </a:lnTo>
                  <a:lnTo>
                    <a:pt x="2121" y="2664"/>
                  </a:lnTo>
                  <a:lnTo>
                    <a:pt x="2118" y="2664"/>
                  </a:lnTo>
                  <a:lnTo>
                    <a:pt x="2116" y="2664"/>
                  </a:lnTo>
                  <a:lnTo>
                    <a:pt x="2114" y="2666"/>
                  </a:lnTo>
                  <a:lnTo>
                    <a:pt x="2110" y="2670"/>
                  </a:lnTo>
                  <a:lnTo>
                    <a:pt x="2107" y="2672"/>
                  </a:lnTo>
                  <a:lnTo>
                    <a:pt x="2106" y="2672"/>
                  </a:lnTo>
                  <a:lnTo>
                    <a:pt x="2105" y="2672"/>
                  </a:lnTo>
                  <a:lnTo>
                    <a:pt x="2104" y="2671"/>
                  </a:lnTo>
                  <a:lnTo>
                    <a:pt x="2104" y="2670"/>
                  </a:lnTo>
                  <a:lnTo>
                    <a:pt x="2104" y="2664"/>
                  </a:lnTo>
                  <a:lnTo>
                    <a:pt x="2103" y="2658"/>
                  </a:lnTo>
                  <a:lnTo>
                    <a:pt x="2102" y="2653"/>
                  </a:lnTo>
                  <a:lnTo>
                    <a:pt x="2100" y="2649"/>
                  </a:lnTo>
                  <a:lnTo>
                    <a:pt x="2094" y="2646"/>
                  </a:lnTo>
                  <a:lnTo>
                    <a:pt x="2084" y="2641"/>
                  </a:lnTo>
                  <a:lnTo>
                    <a:pt x="2078" y="2638"/>
                  </a:lnTo>
                  <a:lnTo>
                    <a:pt x="2073" y="2636"/>
                  </a:lnTo>
                  <a:lnTo>
                    <a:pt x="2067" y="2636"/>
                  </a:lnTo>
                  <a:lnTo>
                    <a:pt x="2064" y="2636"/>
                  </a:lnTo>
                  <a:lnTo>
                    <a:pt x="2054" y="2646"/>
                  </a:lnTo>
                  <a:lnTo>
                    <a:pt x="2039" y="2661"/>
                  </a:lnTo>
                  <a:lnTo>
                    <a:pt x="2032" y="2668"/>
                  </a:lnTo>
                  <a:lnTo>
                    <a:pt x="2025" y="2675"/>
                  </a:lnTo>
                  <a:lnTo>
                    <a:pt x="2022" y="2676"/>
                  </a:lnTo>
                  <a:lnTo>
                    <a:pt x="2019" y="2678"/>
                  </a:lnTo>
                  <a:lnTo>
                    <a:pt x="2018" y="2678"/>
                  </a:lnTo>
                  <a:lnTo>
                    <a:pt x="2016" y="2677"/>
                  </a:lnTo>
                  <a:lnTo>
                    <a:pt x="2016" y="2673"/>
                  </a:lnTo>
                  <a:lnTo>
                    <a:pt x="2018" y="2669"/>
                  </a:lnTo>
                  <a:lnTo>
                    <a:pt x="2020" y="2664"/>
                  </a:lnTo>
                  <a:lnTo>
                    <a:pt x="2023" y="2659"/>
                  </a:lnTo>
                  <a:lnTo>
                    <a:pt x="2028" y="2654"/>
                  </a:lnTo>
                  <a:lnTo>
                    <a:pt x="2030" y="2649"/>
                  </a:lnTo>
                  <a:lnTo>
                    <a:pt x="2030" y="2646"/>
                  </a:lnTo>
                  <a:lnTo>
                    <a:pt x="2031" y="2645"/>
                  </a:lnTo>
                  <a:lnTo>
                    <a:pt x="2030" y="2643"/>
                  </a:lnTo>
                  <a:lnTo>
                    <a:pt x="2029" y="2642"/>
                  </a:lnTo>
                  <a:lnTo>
                    <a:pt x="2027" y="2640"/>
                  </a:lnTo>
                  <a:lnTo>
                    <a:pt x="2022" y="2640"/>
                  </a:lnTo>
                  <a:lnTo>
                    <a:pt x="2018" y="2641"/>
                  </a:lnTo>
                  <a:lnTo>
                    <a:pt x="2013" y="2642"/>
                  </a:lnTo>
                  <a:lnTo>
                    <a:pt x="2005" y="2646"/>
                  </a:lnTo>
                  <a:lnTo>
                    <a:pt x="1998" y="2650"/>
                  </a:lnTo>
                  <a:lnTo>
                    <a:pt x="1991" y="2654"/>
                  </a:lnTo>
                  <a:lnTo>
                    <a:pt x="1983" y="2657"/>
                  </a:lnTo>
                  <a:lnTo>
                    <a:pt x="1977" y="2658"/>
                  </a:lnTo>
                  <a:lnTo>
                    <a:pt x="1973" y="2659"/>
                  </a:lnTo>
                  <a:lnTo>
                    <a:pt x="1970" y="2659"/>
                  </a:lnTo>
                  <a:lnTo>
                    <a:pt x="1969" y="2658"/>
                  </a:lnTo>
                  <a:lnTo>
                    <a:pt x="1968" y="2656"/>
                  </a:lnTo>
                  <a:lnTo>
                    <a:pt x="1969" y="2654"/>
                  </a:lnTo>
                  <a:lnTo>
                    <a:pt x="1970" y="2651"/>
                  </a:lnTo>
                  <a:lnTo>
                    <a:pt x="1972" y="2648"/>
                  </a:lnTo>
                  <a:lnTo>
                    <a:pt x="1976" y="2642"/>
                  </a:lnTo>
                  <a:lnTo>
                    <a:pt x="1981" y="2639"/>
                  </a:lnTo>
                  <a:lnTo>
                    <a:pt x="1988" y="2635"/>
                  </a:lnTo>
                  <a:lnTo>
                    <a:pt x="1995" y="2627"/>
                  </a:lnTo>
                  <a:lnTo>
                    <a:pt x="1999" y="2623"/>
                  </a:lnTo>
                  <a:lnTo>
                    <a:pt x="2002" y="2620"/>
                  </a:lnTo>
                  <a:lnTo>
                    <a:pt x="2005" y="2616"/>
                  </a:lnTo>
                  <a:lnTo>
                    <a:pt x="2006" y="2613"/>
                  </a:lnTo>
                  <a:lnTo>
                    <a:pt x="2006" y="2611"/>
                  </a:lnTo>
                  <a:lnTo>
                    <a:pt x="2003" y="2607"/>
                  </a:lnTo>
                  <a:lnTo>
                    <a:pt x="2000" y="2605"/>
                  </a:lnTo>
                  <a:lnTo>
                    <a:pt x="1998" y="2602"/>
                  </a:lnTo>
                  <a:lnTo>
                    <a:pt x="1992" y="2597"/>
                  </a:lnTo>
                  <a:lnTo>
                    <a:pt x="1988" y="2593"/>
                  </a:lnTo>
                  <a:lnTo>
                    <a:pt x="1985" y="2583"/>
                  </a:lnTo>
                  <a:lnTo>
                    <a:pt x="1979" y="2568"/>
                  </a:lnTo>
                  <a:lnTo>
                    <a:pt x="1976" y="2560"/>
                  </a:lnTo>
                  <a:lnTo>
                    <a:pt x="1972" y="2555"/>
                  </a:lnTo>
                  <a:lnTo>
                    <a:pt x="1971" y="2553"/>
                  </a:lnTo>
                  <a:lnTo>
                    <a:pt x="1969" y="2553"/>
                  </a:lnTo>
                  <a:lnTo>
                    <a:pt x="1967" y="2553"/>
                  </a:lnTo>
                  <a:lnTo>
                    <a:pt x="1965" y="2554"/>
                  </a:lnTo>
                  <a:lnTo>
                    <a:pt x="1961" y="2559"/>
                  </a:lnTo>
                  <a:lnTo>
                    <a:pt x="1955" y="2567"/>
                  </a:lnTo>
                  <a:lnTo>
                    <a:pt x="1951" y="2575"/>
                  </a:lnTo>
                  <a:lnTo>
                    <a:pt x="1947" y="2583"/>
                  </a:lnTo>
                  <a:lnTo>
                    <a:pt x="1943" y="2592"/>
                  </a:lnTo>
                  <a:lnTo>
                    <a:pt x="1939" y="2598"/>
                  </a:lnTo>
                  <a:lnTo>
                    <a:pt x="1936" y="2600"/>
                  </a:lnTo>
                  <a:lnTo>
                    <a:pt x="1934" y="2602"/>
                  </a:lnTo>
                  <a:lnTo>
                    <a:pt x="1932" y="2603"/>
                  </a:lnTo>
                  <a:lnTo>
                    <a:pt x="1931" y="2603"/>
                  </a:lnTo>
                  <a:lnTo>
                    <a:pt x="1922" y="2598"/>
                  </a:lnTo>
                  <a:lnTo>
                    <a:pt x="1912" y="2593"/>
                  </a:lnTo>
                  <a:lnTo>
                    <a:pt x="1907" y="2591"/>
                  </a:lnTo>
                  <a:lnTo>
                    <a:pt x="1903" y="2590"/>
                  </a:lnTo>
                  <a:lnTo>
                    <a:pt x="1899" y="2590"/>
                  </a:lnTo>
                  <a:lnTo>
                    <a:pt x="1896" y="2591"/>
                  </a:lnTo>
                  <a:lnTo>
                    <a:pt x="1890" y="2597"/>
                  </a:lnTo>
                  <a:lnTo>
                    <a:pt x="1886" y="2604"/>
                  </a:lnTo>
                  <a:lnTo>
                    <a:pt x="1884" y="2606"/>
                  </a:lnTo>
                  <a:lnTo>
                    <a:pt x="1882" y="2609"/>
                  </a:lnTo>
                  <a:lnTo>
                    <a:pt x="1879" y="2610"/>
                  </a:lnTo>
                  <a:lnTo>
                    <a:pt x="1876" y="2609"/>
                  </a:lnTo>
                  <a:lnTo>
                    <a:pt x="1873" y="2604"/>
                  </a:lnTo>
                  <a:lnTo>
                    <a:pt x="1868" y="2598"/>
                  </a:lnTo>
                  <a:lnTo>
                    <a:pt x="1865" y="2591"/>
                  </a:lnTo>
                  <a:lnTo>
                    <a:pt x="1862" y="2581"/>
                  </a:lnTo>
                  <a:lnTo>
                    <a:pt x="1859" y="2572"/>
                  </a:lnTo>
                  <a:lnTo>
                    <a:pt x="1857" y="2563"/>
                  </a:lnTo>
                  <a:lnTo>
                    <a:pt x="1855" y="2555"/>
                  </a:lnTo>
                  <a:lnTo>
                    <a:pt x="1855" y="2550"/>
                  </a:lnTo>
                  <a:lnTo>
                    <a:pt x="1857" y="2539"/>
                  </a:lnTo>
                  <a:lnTo>
                    <a:pt x="1858" y="2530"/>
                  </a:lnTo>
                  <a:lnTo>
                    <a:pt x="1858" y="2526"/>
                  </a:lnTo>
                  <a:lnTo>
                    <a:pt x="1857" y="2521"/>
                  </a:lnTo>
                  <a:lnTo>
                    <a:pt x="1855" y="2516"/>
                  </a:lnTo>
                  <a:lnTo>
                    <a:pt x="1852" y="2511"/>
                  </a:lnTo>
                  <a:lnTo>
                    <a:pt x="1835" y="2497"/>
                  </a:lnTo>
                  <a:lnTo>
                    <a:pt x="1811" y="2480"/>
                  </a:lnTo>
                  <a:lnTo>
                    <a:pt x="1799" y="2471"/>
                  </a:lnTo>
                  <a:lnTo>
                    <a:pt x="1790" y="2463"/>
                  </a:lnTo>
                  <a:lnTo>
                    <a:pt x="1788" y="2460"/>
                  </a:lnTo>
                  <a:lnTo>
                    <a:pt x="1786" y="2457"/>
                  </a:lnTo>
                  <a:lnTo>
                    <a:pt x="1786" y="2454"/>
                  </a:lnTo>
                  <a:lnTo>
                    <a:pt x="1788" y="2452"/>
                  </a:lnTo>
                  <a:lnTo>
                    <a:pt x="1792" y="2448"/>
                  </a:lnTo>
                  <a:lnTo>
                    <a:pt x="1796" y="2443"/>
                  </a:lnTo>
                  <a:lnTo>
                    <a:pt x="1799" y="2437"/>
                  </a:lnTo>
                  <a:lnTo>
                    <a:pt x="1801" y="2430"/>
                  </a:lnTo>
                  <a:lnTo>
                    <a:pt x="1802" y="2425"/>
                  </a:lnTo>
                  <a:lnTo>
                    <a:pt x="1802" y="2421"/>
                  </a:lnTo>
                  <a:lnTo>
                    <a:pt x="1801" y="2419"/>
                  </a:lnTo>
                  <a:lnTo>
                    <a:pt x="1800" y="2419"/>
                  </a:lnTo>
                  <a:lnTo>
                    <a:pt x="1798" y="2419"/>
                  </a:lnTo>
                  <a:lnTo>
                    <a:pt x="1796" y="2420"/>
                  </a:lnTo>
                  <a:lnTo>
                    <a:pt x="1786" y="2426"/>
                  </a:lnTo>
                  <a:lnTo>
                    <a:pt x="1772" y="2432"/>
                  </a:lnTo>
                  <a:lnTo>
                    <a:pt x="1765" y="2435"/>
                  </a:lnTo>
                  <a:lnTo>
                    <a:pt x="1758" y="2436"/>
                  </a:lnTo>
                  <a:lnTo>
                    <a:pt x="1752" y="2436"/>
                  </a:lnTo>
                  <a:lnTo>
                    <a:pt x="1746" y="2432"/>
                  </a:lnTo>
                  <a:lnTo>
                    <a:pt x="1736" y="2426"/>
                  </a:lnTo>
                  <a:lnTo>
                    <a:pt x="1726" y="2420"/>
                  </a:lnTo>
                  <a:lnTo>
                    <a:pt x="1722" y="2418"/>
                  </a:lnTo>
                  <a:lnTo>
                    <a:pt x="1716" y="2417"/>
                  </a:lnTo>
                  <a:lnTo>
                    <a:pt x="1712" y="2418"/>
                  </a:lnTo>
                  <a:lnTo>
                    <a:pt x="1708" y="2420"/>
                  </a:lnTo>
                  <a:lnTo>
                    <a:pt x="1704" y="2423"/>
                  </a:lnTo>
                  <a:lnTo>
                    <a:pt x="1699" y="2425"/>
                  </a:lnTo>
                  <a:lnTo>
                    <a:pt x="1693" y="2425"/>
                  </a:lnTo>
                  <a:lnTo>
                    <a:pt x="1687" y="2425"/>
                  </a:lnTo>
                  <a:lnTo>
                    <a:pt x="1679" y="2423"/>
                  </a:lnTo>
                  <a:lnTo>
                    <a:pt x="1677" y="2422"/>
                  </a:lnTo>
                  <a:lnTo>
                    <a:pt x="1679" y="2421"/>
                  </a:lnTo>
                  <a:lnTo>
                    <a:pt x="1679" y="2420"/>
                  </a:lnTo>
                  <a:lnTo>
                    <a:pt x="1678" y="2417"/>
                  </a:lnTo>
                  <a:lnTo>
                    <a:pt x="1677" y="2415"/>
                  </a:lnTo>
                  <a:lnTo>
                    <a:pt x="1672" y="2410"/>
                  </a:lnTo>
                  <a:lnTo>
                    <a:pt x="1668" y="2407"/>
                  </a:lnTo>
                  <a:lnTo>
                    <a:pt x="1655" y="2406"/>
                  </a:lnTo>
                  <a:lnTo>
                    <a:pt x="1628" y="2405"/>
                  </a:lnTo>
                  <a:lnTo>
                    <a:pt x="1602" y="2404"/>
                  </a:lnTo>
                  <a:lnTo>
                    <a:pt x="1591" y="2404"/>
                  </a:lnTo>
                  <a:lnTo>
                    <a:pt x="1591" y="2407"/>
                  </a:lnTo>
                  <a:lnTo>
                    <a:pt x="1589" y="2415"/>
                  </a:lnTo>
                  <a:lnTo>
                    <a:pt x="1588" y="2418"/>
                  </a:lnTo>
                  <a:lnTo>
                    <a:pt x="1586" y="2420"/>
                  </a:lnTo>
                  <a:lnTo>
                    <a:pt x="1584" y="2422"/>
                  </a:lnTo>
                  <a:lnTo>
                    <a:pt x="1583" y="2421"/>
                  </a:lnTo>
                  <a:lnTo>
                    <a:pt x="1575" y="2406"/>
                  </a:lnTo>
                  <a:lnTo>
                    <a:pt x="1569" y="2394"/>
                  </a:lnTo>
                  <a:lnTo>
                    <a:pt x="1563" y="2399"/>
                  </a:lnTo>
                  <a:lnTo>
                    <a:pt x="1552" y="2408"/>
                  </a:lnTo>
                  <a:lnTo>
                    <a:pt x="1545" y="2413"/>
                  </a:lnTo>
                  <a:lnTo>
                    <a:pt x="1537" y="2417"/>
                  </a:lnTo>
                  <a:lnTo>
                    <a:pt x="1531" y="2420"/>
                  </a:lnTo>
                  <a:lnTo>
                    <a:pt x="1526" y="2420"/>
                  </a:lnTo>
                  <a:lnTo>
                    <a:pt x="1520" y="2419"/>
                  </a:lnTo>
                  <a:lnTo>
                    <a:pt x="1515" y="2418"/>
                  </a:lnTo>
                  <a:lnTo>
                    <a:pt x="1509" y="2418"/>
                  </a:lnTo>
                  <a:lnTo>
                    <a:pt x="1503" y="2420"/>
                  </a:lnTo>
                  <a:lnTo>
                    <a:pt x="1496" y="2422"/>
                  </a:lnTo>
                  <a:lnTo>
                    <a:pt x="1490" y="2427"/>
                  </a:lnTo>
                  <a:lnTo>
                    <a:pt x="1485" y="2435"/>
                  </a:lnTo>
                  <a:lnTo>
                    <a:pt x="1480" y="2444"/>
                  </a:lnTo>
                  <a:lnTo>
                    <a:pt x="1475" y="2453"/>
                  </a:lnTo>
                  <a:lnTo>
                    <a:pt x="1470" y="2462"/>
                  </a:lnTo>
                  <a:lnTo>
                    <a:pt x="1464" y="2467"/>
                  </a:lnTo>
                  <a:lnTo>
                    <a:pt x="1458" y="2470"/>
                  </a:lnTo>
                  <a:lnTo>
                    <a:pt x="1451" y="2472"/>
                  </a:lnTo>
                  <a:lnTo>
                    <a:pt x="1447" y="2472"/>
                  </a:lnTo>
                  <a:lnTo>
                    <a:pt x="1443" y="2472"/>
                  </a:lnTo>
                  <a:lnTo>
                    <a:pt x="1440" y="2470"/>
                  </a:lnTo>
                  <a:lnTo>
                    <a:pt x="1434" y="2466"/>
                  </a:lnTo>
                  <a:lnTo>
                    <a:pt x="1423" y="2462"/>
                  </a:lnTo>
                  <a:lnTo>
                    <a:pt x="1410" y="2458"/>
                  </a:lnTo>
                  <a:lnTo>
                    <a:pt x="1399" y="2456"/>
                  </a:lnTo>
                  <a:lnTo>
                    <a:pt x="1396" y="2456"/>
                  </a:lnTo>
                  <a:lnTo>
                    <a:pt x="1393" y="2458"/>
                  </a:lnTo>
                  <a:lnTo>
                    <a:pt x="1392" y="2460"/>
                  </a:lnTo>
                  <a:lnTo>
                    <a:pt x="1391" y="2463"/>
                  </a:lnTo>
                  <a:lnTo>
                    <a:pt x="1388" y="2465"/>
                  </a:lnTo>
                  <a:lnTo>
                    <a:pt x="1384" y="2466"/>
                  </a:lnTo>
                  <a:lnTo>
                    <a:pt x="1379" y="2466"/>
                  </a:lnTo>
                  <a:lnTo>
                    <a:pt x="1371" y="2463"/>
                  </a:lnTo>
                  <a:lnTo>
                    <a:pt x="1351" y="2453"/>
                  </a:lnTo>
                  <a:lnTo>
                    <a:pt x="1333" y="2445"/>
                  </a:lnTo>
                  <a:lnTo>
                    <a:pt x="1326" y="2441"/>
                  </a:lnTo>
                  <a:lnTo>
                    <a:pt x="1320" y="2437"/>
                  </a:lnTo>
                  <a:lnTo>
                    <a:pt x="1317" y="2432"/>
                  </a:lnTo>
                  <a:lnTo>
                    <a:pt x="1316" y="2428"/>
                  </a:lnTo>
                  <a:lnTo>
                    <a:pt x="1317" y="2414"/>
                  </a:lnTo>
                  <a:lnTo>
                    <a:pt x="1320" y="2391"/>
                  </a:lnTo>
                  <a:lnTo>
                    <a:pt x="1322" y="2370"/>
                  </a:lnTo>
                  <a:lnTo>
                    <a:pt x="1323" y="2356"/>
                  </a:lnTo>
                  <a:lnTo>
                    <a:pt x="1320" y="2353"/>
                  </a:lnTo>
                  <a:lnTo>
                    <a:pt x="1312" y="2349"/>
                  </a:lnTo>
                  <a:lnTo>
                    <a:pt x="1300" y="2344"/>
                  </a:lnTo>
                  <a:lnTo>
                    <a:pt x="1287" y="2339"/>
                  </a:lnTo>
                  <a:lnTo>
                    <a:pt x="1272" y="2334"/>
                  </a:lnTo>
                  <a:lnTo>
                    <a:pt x="1259" y="2329"/>
                  </a:lnTo>
                  <a:lnTo>
                    <a:pt x="1247" y="2325"/>
                  </a:lnTo>
                  <a:lnTo>
                    <a:pt x="1239" y="2319"/>
                  </a:lnTo>
                  <a:lnTo>
                    <a:pt x="1232" y="2315"/>
                  </a:lnTo>
                  <a:lnTo>
                    <a:pt x="1227" y="2309"/>
                  </a:lnTo>
                  <a:lnTo>
                    <a:pt x="1222" y="2303"/>
                  </a:lnTo>
                  <a:lnTo>
                    <a:pt x="1218" y="2296"/>
                  </a:lnTo>
                  <a:lnTo>
                    <a:pt x="1215" y="2290"/>
                  </a:lnTo>
                  <a:lnTo>
                    <a:pt x="1212" y="2285"/>
                  </a:lnTo>
                  <a:lnTo>
                    <a:pt x="1212" y="2283"/>
                  </a:lnTo>
                  <a:lnTo>
                    <a:pt x="1212" y="2282"/>
                  </a:lnTo>
                  <a:lnTo>
                    <a:pt x="1212" y="2281"/>
                  </a:lnTo>
                  <a:lnTo>
                    <a:pt x="1213" y="2280"/>
                  </a:lnTo>
                  <a:lnTo>
                    <a:pt x="1217" y="2276"/>
                  </a:lnTo>
                  <a:lnTo>
                    <a:pt x="1222" y="2268"/>
                  </a:lnTo>
                  <a:lnTo>
                    <a:pt x="1228" y="2256"/>
                  </a:lnTo>
                  <a:lnTo>
                    <a:pt x="1233" y="2243"/>
                  </a:lnTo>
                  <a:lnTo>
                    <a:pt x="1239" y="2228"/>
                  </a:lnTo>
                  <a:lnTo>
                    <a:pt x="1242" y="2216"/>
                  </a:lnTo>
                  <a:lnTo>
                    <a:pt x="1243" y="2210"/>
                  </a:lnTo>
                  <a:lnTo>
                    <a:pt x="1243" y="2205"/>
                  </a:lnTo>
                  <a:lnTo>
                    <a:pt x="1242" y="2201"/>
                  </a:lnTo>
                  <a:lnTo>
                    <a:pt x="1240" y="2199"/>
                  </a:lnTo>
                  <a:lnTo>
                    <a:pt x="1238" y="2198"/>
                  </a:lnTo>
                  <a:lnTo>
                    <a:pt x="1233" y="2196"/>
                  </a:lnTo>
                  <a:lnTo>
                    <a:pt x="1228" y="2195"/>
                  </a:lnTo>
                  <a:lnTo>
                    <a:pt x="1223" y="2195"/>
                  </a:lnTo>
                  <a:lnTo>
                    <a:pt x="1209" y="2194"/>
                  </a:lnTo>
                  <a:lnTo>
                    <a:pt x="1196" y="2195"/>
                  </a:lnTo>
                  <a:lnTo>
                    <a:pt x="1182" y="2197"/>
                  </a:lnTo>
                  <a:lnTo>
                    <a:pt x="1171" y="2200"/>
                  </a:lnTo>
                  <a:lnTo>
                    <a:pt x="1166" y="2201"/>
                  </a:lnTo>
                  <a:lnTo>
                    <a:pt x="1162" y="2203"/>
                  </a:lnTo>
                  <a:lnTo>
                    <a:pt x="1160" y="2205"/>
                  </a:lnTo>
                  <a:lnTo>
                    <a:pt x="1159" y="2207"/>
                  </a:lnTo>
                  <a:lnTo>
                    <a:pt x="1156" y="2222"/>
                  </a:lnTo>
                  <a:lnTo>
                    <a:pt x="1150" y="2242"/>
                  </a:lnTo>
                  <a:lnTo>
                    <a:pt x="1146" y="2252"/>
                  </a:lnTo>
                  <a:lnTo>
                    <a:pt x="1141" y="2261"/>
                  </a:lnTo>
                  <a:lnTo>
                    <a:pt x="1139" y="2264"/>
                  </a:lnTo>
                  <a:lnTo>
                    <a:pt x="1136" y="2266"/>
                  </a:lnTo>
                  <a:lnTo>
                    <a:pt x="1134" y="2267"/>
                  </a:lnTo>
                  <a:lnTo>
                    <a:pt x="1131" y="2268"/>
                  </a:lnTo>
                  <a:lnTo>
                    <a:pt x="1122" y="2267"/>
                  </a:lnTo>
                  <a:lnTo>
                    <a:pt x="1109" y="2267"/>
                  </a:lnTo>
                  <a:lnTo>
                    <a:pt x="1093" y="2265"/>
                  </a:lnTo>
                  <a:lnTo>
                    <a:pt x="1076" y="2261"/>
                  </a:lnTo>
                  <a:lnTo>
                    <a:pt x="1067" y="2258"/>
                  </a:lnTo>
                  <a:lnTo>
                    <a:pt x="1058" y="2253"/>
                  </a:lnTo>
                  <a:lnTo>
                    <a:pt x="1051" y="2248"/>
                  </a:lnTo>
                  <a:lnTo>
                    <a:pt x="1044" y="2242"/>
                  </a:lnTo>
                  <a:lnTo>
                    <a:pt x="1037" y="2234"/>
                  </a:lnTo>
                  <a:lnTo>
                    <a:pt x="1032" y="2225"/>
                  </a:lnTo>
                  <a:lnTo>
                    <a:pt x="1028" y="2214"/>
                  </a:lnTo>
                  <a:lnTo>
                    <a:pt x="1025" y="2202"/>
                  </a:lnTo>
                  <a:lnTo>
                    <a:pt x="1021" y="2159"/>
                  </a:lnTo>
                  <a:lnTo>
                    <a:pt x="1020" y="2135"/>
                  </a:lnTo>
                  <a:lnTo>
                    <a:pt x="1021" y="2129"/>
                  </a:lnTo>
                  <a:lnTo>
                    <a:pt x="1022" y="2123"/>
                  </a:lnTo>
                  <a:lnTo>
                    <a:pt x="1023" y="2119"/>
                  </a:lnTo>
                  <a:lnTo>
                    <a:pt x="1025" y="2116"/>
                  </a:lnTo>
                  <a:lnTo>
                    <a:pt x="1029" y="2111"/>
                  </a:lnTo>
                  <a:lnTo>
                    <a:pt x="1033" y="2106"/>
                  </a:lnTo>
                  <a:lnTo>
                    <a:pt x="1035" y="2104"/>
                  </a:lnTo>
                  <a:lnTo>
                    <a:pt x="1035" y="2101"/>
                  </a:lnTo>
                  <a:lnTo>
                    <a:pt x="1035" y="2100"/>
                  </a:lnTo>
                  <a:lnTo>
                    <a:pt x="1034" y="2098"/>
                  </a:lnTo>
                  <a:lnTo>
                    <a:pt x="1032" y="2095"/>
                  </a:lnTo>
                  <a:lnTo>
                    <a:pt x="1030" y="2090"/>
                  </a:lnTo>
                  <a:lnTo>
                    <a:pt x="1028" y="2085"/>
                  </a:lnTo>
                  <a:lnTo>
                    <a:pt x="1026" y="2077"/>
                  </a:lnTo>
                  <a:lnTo>
                    <a:pt x="1025" y="2070"/>
                  </a:lnTo>
                  <a:lnTo>
                    <a:pt x="1025" y="2064"/>
                  </a:lnTo>
                  <a:lnTo>
                    <a:pt x="1025" y="2057"/>
                  </a:lnTo>
                  <a:lnTo>
                    <a:pt x="1027" y="2052"/>
                  </a:lnTo>
                  <a:lnTo>
                    <a:pt x="1031" y="2049"/>
                  </a:lnTo>
                  <a:lnTo>
                    <a:pt x="1035" y="2045"/>
                  </a:lnTo>
                  <a:lnTo>
                    <a:pt x="1042" y="2041"/>
                  </a:lnTo>
                  <a:lnTo>
                    <a:pt x="1048" y="2037"/>
                  </a:lnTo>
                  <a:lnTo>
                    <a:pt x="1059" y="2032"/>
                  </a:lnTo>
                  <a:lnTo>
                    <a:pt x="1066" y="2030"/>
                  </a:lnTo>
                  <a:lnTo>
                    <a:pt x="1068" y="2027"/>
                  </a:lnTo>
                  <a:lnTo>
                    <a:pt x="1072" y="2022"/>
                  </a:lnTo>
                  <a:lnTo>
                    <a:pt x="1075" y="2019"/>
                  </a:lnTo>
                  <a:lnTo>
                    <a:pt x="1078" y="2017"/>
                  </a:lnTo>
                  <a:lnTo>
                    <a:pt x="1083" y="2015"/>
                  </a:lnTo>
                  <a:lnTo>
                    <a:pt x="1087" y="2017"/>
                  </a:lnTo>
                  <a:lnTo>
                    <a:pt x="1091" y="2019"/>
                  </a:lnTo>
                  <a:lnTo>
                    <a:pt x="1095" y="2019"/>
                  </a:lnTo>
                  <a:lnTo>
                    <a:pt x="1100" y="2019"/>
                  </a:lnTo>
                  <a:lnTo>
                    <a:pt x="1105" y="2019"/>
                  </a:lnTo>
                  <a:lnTo>
                    <a:pt x="1114" y="2018"/>
                  </a:lnTo>
                  <a:lnTo>
                    <a:pt x="1124" y="2019"/>
                  </a:lnTo>
                  <a:lnTo>
                    <a:pt x="1135" y="2023"/>
                  </a:lnTo>
                  <a:lnTo>
                    <a:pt x="1146" y="2027"/>
                  </a:lnTo>
                  <a:lnTo>
                    <a:pt x="1152" y="2029"/>
                  </a:lnTo>
                  <a:lnTo>
                    <a:pt x="1158" y="2031"/>
                  </a:lnTo>
                  <a:lnTo>
                    <a:pt x="1163" y="2032"/>
                  </a:lnTo>
                  <a:lnTo>
                    <a:pt x="1168" y="2032"/>
                  </a:lnTo>
                  <a:lnTo>
                    <a:pt x="1178" y="2029"/>
                  </a:lnTo>
                  <a:lnTo>
                    <a:pt x="1184" y="2026"/>
                  </a:lnTo>
                  <a:lnTo>
                    <a:pt x="1188" y="2023"/>
                  </a:lnTo>
                  <a:lnTo>
                    <a:pt x="1191" y="2020"/>
                  </a:lnTo>
                  <a:lnTo>
                    <a:pt x="1194" y="2015"/>
                  </a:lnTo>
                  <a:lnTo>
                    <a:pt x="1198" y="2009"/>
                  </a:lnTo>
                  <a:lnTo>
                    <a:pt x="1200" y="2007"/>
                  </a:lnTo>
                  <a:lnTo>
                    <a:pt x="1204" y="2005"/>
                  </a:lnTo>
                  <a:lnTo>
                    <a:pt x="1208" y="2004"/>
                  </a:lnTo>
                  <a:lnTo>
                    <a:pt x="1213" y="2005"/>
                  </a:lnTo>
                  <a:lnTo>
                    <a:pt x="1222" y="2007"/>
                  </a:lnTo>
                  <a:lnTo>
                    <a:pt x="1229" y="2007"/>
                  </a:lnTo>
                  <a:lnTo>
                    <a:pt x="1231" y="2007"/>
                  </a:lnTo>
                  <a:lnTo>
                    <a:pt x="1234" y="2008"/>
                  </a:lnTo>
                  <a:lnTo>
                    <a:pt x="1238" y="2010"/>
                  </a:lnTo>
                  <a:lnTo>
                    <a:pt x="1241" y="2015"/>
                  </a:lnTo>
                  <a:lnTo>
                    <a:pt x="1245" y="2020"/>
                  </a:lnTo>
                  <a:lnTo>
                    <a:pt x="1251" y="2023"/>
                  </a:lnTo>
                  <a:lnTo>
                    <a:pt x="1257" y="2025"/>
                  </a:lnTo>
                  <a:lnTo>
                    <a:pt x="1265" y="2026"/>
                  </a:lnTo>
                  <a:lnTo>
                    <a:pt x="1278" y="2027"/>
                  </a:lnTo>
                  <a:lnTo>
                    <a:pt x="1288" y="2027"/>
                  </a:lnTo>
                  <a:lnTo>
                    <a:pt x="1294" y="2028"/>
                  </a:lnTo>
                  <a:lnTo>
                    <a:pt x="1299" y="2028"/>
                  </a:lnTo>
                  <a:lnTo>
                    <a:pt x="1301" y="2028"/>
                  </a:lnTo>
                  <a:lnTo>
                    <a:pt x="1304" y="2029"/>
                  </a:lnTo>
                  <a:lnTo>
                    <a:pt x="1307" y="2030"/>
                  </a:lnTo>
                  <a:lnTo>
                    <a:pt x="1309" y="2033"/>
                  </a:lnTo>
                  <a:lnTo>
                    <a:pt x="1315" y="2039"/>
                  </a:lnTo>
                  <a:lnTo>
                    <a:pt x="1321" y="2044"/>
                  </a:lnTo>
                  <a:lnTo>
                    <a:pt x="1325" y="2047"/>
                  </a:lnTo>
                  <a:lnTo>
                    <a:pt x="1327" y="2050"/>
                  </a:lnTo>
                  <a:lnTo>
                    <a:pt x="1329" y="2054"/>
                  </a:lnTo>
                  <a:lnTo>
                    <a:pt x="1330" y="2057"/>
                  </a:lnTo>
                  <a:lnTo>
                    <a:pt x="1330" y="2065"/>
                  </a:lnTo>
                  <a:lnTo>
                    <a:pt x="1330" y="2072"/>
                  </a:lnTo>
                  <a:lnTo>
                    <a:pt x="1331" y="2079"/>
                  </a:lnTo>
                  <a:lnTo>
                    <a:pt x="1335" y="2090"/>
                  </a:lnTo>
                  <a:lnTo>
                    <a:pt x="1342" y="2101"/>
                  </a:lnTo>
                  <a:lnTo>
                    <a:pt x="1350" y="2111"/>
                  </a:lnTo>
                  <a:lnTo>
                    <a:pt x="1356" y="2119"/>
                  </a:lnTo>
                  <a:lnTo>
                    <a:pt x="1359" y="2123"/>
                  </a:lnTo>
                  <a:lnTo>
                    <a:pt x="1363" y="2127"/>
                  </a:lnTo>
                  <a:lnTo>
                    <a:pt x="1369" y="2129"/>
                  </a:lnTo>
                  <a:lnTo>
                    <a:pt x="1374" y="2130"/>
                  </a:lnTo>
                  <a:lnTo>
                    <a:pt x="1378" y="2130"/>
                  </a:lnTo>
                  <a:lnTo>
                    <a:pt x="1381" y="2124"/>
                  </a:lnTo>
                  <a:lnTo>
                    <a:pt x="1383" y="2115"/>
                  </a:lnTo>
                  <a:lnTo>
                    <a:pt x="1385" y="2105"/>
                  </a:lnTo>
                  <a:lnTo>
                    <a:pt x="1385" y="2093"/>
                  </a:lnTo>
                  <a:lnTo>
                    <a:pt x="1385" y="2084"/>
                  </a:lnTo>
                  <a:lnTo>
                    <a:pt x="1383" y="2072"/>
                  </a:lnTo>
                  <a:lnTo>
                    <a:pt x="1380" y="2062"/>
                  </a:lnTo>
                  <a:lnTo>
                    <a:pt x="1378" y="2052"/>
                  </a:lnTo>
                  <a:lnTo>
                    <a:pt x="1377" y="2047"/>
                  </a:lnTo>
                  <a:lnTo>
                    <a:pt x="1374" y="2042"/>
                  </a:lnTo>
                  <a:lnTo>
                    <a:pt x="1371" y="2036"/>
                  </a:lnTo>
                  <a:lnTo>
                    <a:pt x="1368" y="2031"/>
                  </a:lnTo>
                  <a:lnTo>
                    <a:pt x="1363" y="2025"/>
                  </a:lnTo>
                  <a:lnTo>
                    <a:pt x="1360" y="2020"/>
                  </a:lnTo>
                  <a:lnTo>
                    <a:pt x="1358" y="2013"/>
                  </a:lnTo>
                  <a:lnTo>
                    <a:pt x="1358" y="2007"/>
                  </a:lnTo>
                  <a:lnTo>
                    <a:pt x="1358" y="1992"/>
                  </a:lnTo>
                  <a:lnTo>
                    <a:pt x="1360" y="1976"/>
                  </a:lnTo>
                  <a:lnTo>
                    <a:pt x="1362" y="1968"/>
                  </a:lnTo>
                  <a:lnTo>
                    <a:pt x="1364" y="1962"/>
                  </a:lnTo>
                  <a:lnTo>
                    <a:pt x="1366" y="1958"/>
                  </a:lnTo>
                  <a:lnTo>
                    <a:pt x="1370" y="1955"/>
                  </a:lnTo>
                  <a:lnTo>
                    <a:pt x="1381" y="1945"/>
                  </a:lnTo>
                  <a:lnTo>
                    <a:pt x="1400" y="1929"/>
                  </a:lnTo>
                  <a:lnTo>
                    <a:pt x="1410" y="1919"/>
                  </a:lnTo>
                  <a:lnTo>
                    <a:pt x="1420" y="1911"/>
                  </a:lnTo>
                  <a:lnTo>
                    <a:pt x="1428" y="1904"/>
                  </a:lnTo>
                  <a:lnTo>
                    <a:pt x="1436" y="1900"/>
                  </a:lnTo>
                  <a:lnTo>
                    <a:pt x="1449" y="1894"/>
                  </a:lnTo>
                  <a:lnTo>
                    <a:pt x="1464" y="1886"/>
                  </a:lnTo>
                  <a:lnTo>
                    <a:pt x="1470" y="1880"/>
                  </a:lnTo>
                  <a:lnTo>
                    <a:pt x="1476" y="1876"/>
                  </a:lnTo>
                  <a:lnTo>
                    <a:pt x="1480" y="1873"/>
                  </a:lnTo>
                  <a:lnTo>
                    <a:pt x="1482" y="1870"/>
                  </a:lnTo>
                  <a:lnTo>
                    <a:pt x="1478" y="1855"/>
                  </a:lnTo>
                  <a:lnTo>
                    <a:pt x="1472" y="1841"/>
                  </a:lnTo>
                  <a:lnTo>
                    <a:pt x="1479" y="1826"/>
                  </a:lnTo>
                  <a:lnTo>
                    <a:pt x="1485" y="1810"/>
                  </a:lnTo>
                  <a:lnTo>
                    <a:pt x="1488" y="1803"/>
                  </a:lnTo>
                  <a:lnTo>
                    <a:pt x="1491" y="1795"/>
                  </a:lnTo>
                  <a:lnTo>
                    <a:pt x="1495" y="1789"/>
                  </a:lnTo>
                  <a:lnTo>
                    <a:pt x="1501" y="1782"/>
                  </a:lnTo>
                  <a:lnTo>
                    <a:pt x="1505" y="1773"/>
                  </a:lnTo>
                  <a:lnTo>
                    <a:pt x="1510" y="1761"/>
                  </a:lnTo>
                  <a:lnTo>
                    <a:pt x="1513" y="1756"/>
                  </a:lnTo>
                  <a:lnTo>
                    <a:pt x="1515" y="1750"/>
                  </a:lnTo>
                  <a:lnTo>
                    <a:pt x="1518" y="1746"/>
                  </a:lnTo>
                  <a:lnTo>
                    <a:pt x="1522" y="1743"/>
                  </a:lnTo>
                  <a:lnTo>
                    <a:pt x="1532" y="1739"/>
                  </a:lnTo>
                  <a:lnTo>
                    <a:pt x="1549" y="1733"/>
                  </a:lnTo>
                  <a:lnTo>
                    <a:pt x="1557" y="1729"/>
                  </a:lnTo>
                  <a:lnTo>
                    <a:pt x="1564" y="1725"/>
                  </a:lnTo>
                  <a:lnTo>
                    <a:pt x="1570" y="1722"/>
                  </a:lnTo>
                  <a:lnTo>
                    <a:pt x="1574" y="1719"/>
                  </a:lnTo>
                  <a:lnTo>
                    <a:pt x="1577" y="1717"/>
                  </a:lnTo>
                  <a:lnTo>
                    <a:pt x="1581" y="1716"/>
                  </a:lnTo>
                  <a:lnTo>
                    <a:pt x="1586" y="1715"/>
                  </a:lnTo>
                  <a:lnTo>
                    <a:pt x="1592" y="1714"/>
                  </a:lnTo>
                  <a:lnTo>
                    <a:pt x="1597" y="1714"/>
                  </a:lnTo>
                  <a:lnTo>
                    <a:pt x="1602" y="1713"/>
                  </a:lnTo>
                  <a:lnTo>
                    <a:pt x="1603" y="1712"/>
                  </a:lnTo>
                  <a:lnTo>
                    <a:pt x="1605" y="1711"/>
                  </a:lnTo>
                  <a:lnTo>
                    <a:pt x="1605" y="1708"/>
                  </a:lnTo>
                  <a:lnTo>
                    <a:pt x="1606" y="1707"/>
                  </a:lnTo>
                  <a:lnTo>
                    <a:pt x="1605" y="1705"/>
                  </a:lnTo>
                  <a:lnTo>
                    <a:pt x="1604" y="1703"/>
                  </a:lnTo>
                  <a:lnTo>
                    <a:pt x="1603" y="1702"/>
                  </a:lnTo>
                  <a:lnTo>
                    <a:pt x="1601" y="1701"/>
                  </a:lnTo>
                  <a:lnTo>
                    <a:pt x="1596" y="1699"/>
                  </a:lnTo>
                  <a:lnTo>
                    <a:pt x="1591" y="1698"/>
                  </a:lnTo>
                  <a:lnTo>
                    <a:pt x="1585" y="1697"/>
                  </a:lnTo>
                  <a:lnTo>
                    <a:pt x="1581" y="1695"/>
                  </a:lnTo>
                  <a:lnTo>
                    <a:pt x="1580" y="1694"/>
                  </a:lnTo>
                  <a:lnTo>
                    <a:pt x="1580" y="1692"/>
                  </a:lnTo>
                  <a:lnTo>
                    <a:pt x="1580" y="1690"/>
                  </a:lnTo>
                  <a:lnTo>
                    <a:pt x="1581" y="1688"/>
                  </a:lnTo>
                  <a:lnTo>
                    <a:pt x="1588" y="1677"/>
                  </a:lnTo>
                  <a:lnTo>
                    <a:pt x="1597" y="1666"/>
                  </a:lnTo>
                  <a:lnTo>
                    <a:pt x="1606" y="1654"/>
                  </a:lnTo>
                  <a:lnTo>
                    <a:pt x="1616" y="1644"/>
                  </a:lnTo>
                  <a:lnTo>
                    <a:pt x="1623" y="1637"/>
                  </a:lnTo>
                  <a:lnTo>
                    <a:pt x="1635" y="1630"/>
                  </a:lnTo>
                  <a:lnTo>
                    <a:pt x="1648" y="1620"/>
                  </a:lnTo>
                  <a:lnTo>
                    <a:pt x="1664" y="1612"/>
                  </a:lnTo>
                  <a:lnTo>
                    <a:pt x="1679" y="1605"/>
                  </a:lnTo>
                  <a:lnTo>
                    <a:pt x="1690" y="1598"/>
                  </a:lnTo>
                  <a:lnTo>
                    <a:pt x="1694" y="1596"/>
                  </a:lnTo>
                  <a:lnTo>
                    <a:pt x="1698" y="1595"/>
                  </a:lnTo>
                  <a:lnTo>
                    <a:pt x="1700" y="1595"/>
                  </a:lnTo>
                  <a:lnTo>
                    <a:pt x="1700" y="1596"/>
                  </a:lnTo>
                  <a:lnTo>
                    <a:pt x="1693" y="1603"/>
                  </a:lnTo>
                  <a:lnTo>
                    <a:pt x="1686" y="1611"/>
                  </a:lnTo>
                  <a:lnTo>
                    <a:pt x="1682" y="1615"/>
                  </a:lnTo>
                  <a:lnTo>
                    <a:pt x="1680" y="1619"/>
                  </a:lnTo>
                  <a:lnTo>
                    <a:pt x="1678" y="1625"/>
                  </a:lnTo>
                  <a:lnTo>
                    <a:pt x="1678" y="1631"/>
                  </a:lnTo>
                  <a:lnTo>
                    <a:pt x="1679" y="1641"/>
                  </a:lnTo>
                  <a:lnTo>
                    <a:pt x="1680" y="1649"/>
                  </a:lnTo>
                  <a:lnTo>
                    <a:pt x="1682" y="1652"/>
                  </a:lnTo>
                  <a:lnTo>
                    <a:pt x="1684" y="1654"/>
                  </a:lnTo>
                  <a:lnTo>
                    <a:pt x="1687" y="1654"/>
                  </a:lnTo>
                  <a:lnTo>
                    <a:pt x="1691" y="1654"/>
                  </a:lnTo>
                  <a:lnTo>
                    <a:pt x="1696" y="1652"/>
                  </a:lnTo>
                  <a:lnTo>
                    <a:pt x="1701" y="1650"/>
                  </a:lnTo>
                  <a:lnTo>
                    <a:pt x="1704" y="1647"/>
                  </a:lnTo>
                  <a:lnTo>
                    <a:pt x="1708" y="1642"/>
                  </a:lnTo>
                  <a:lnTo>
                    <a:pt x="1712" y="1638"/>
                  </a:lnTo>
                  <a:lnTo>
                    <a:pt x="1717" y="1634"/>
                  </a:lnTo>
                  <a:lnTo>
                    <a:pt x="1725" y="1629"/>
                  </a:lnTo>
                  <a:lnTo>
                    <a:pt x="1735" y="1624"/>
                  </a:lnTo>
                  <a:lnTo>
                    <a:pt x="1754" y="1613"/>
                  </a:lnTo>
                  <a:lnTo>
                    <a:pt x="1770" y="1606"/>
                  </a:lnTo>
                  <a:lnTo>
                    <a:pt x="1781" y="1600"/>
                  </a:lnTo>
                  <a:lnTo>
                    <a:pt x="1791" y="1594"/>
                  </a:lnTo>
                  <a:lnTo>
                    <a:pt x="1801" y="1590"/>
                  </a:lnTo>
                  <a:lnTo>
                    <a:pt x="1814" y="1586"/>
                  </a:lnTo>
                  <a:lnTo>
                    <a:pt x="1818" y="1584"/>
                  </a:lnTo>
                  <a:lnTo>
                    <a:pt x="1822" y="1581"/>
                  </a:lnTo>
                  <a:lnTo>
                    <a:pt x="1823" y="1579"/>
                  </a:lnTo>
                  <a:lnTo>
                    <a:pt x="1823" y="1576"/>
                  </a:lnTo>
                  <a:lnTo>
                    <a:pt x="1823" y="1574"/>
                  </a:lnTo>
                  <a:lnTo>
                    <a:pt x="1822" y="1572"/>
                  </a:lnTo>
                  <a:lnTo>
                    <a:pt x="1817" y="1560"/>
                  </a:lnTo>
                  <a:lnTo>
                    <a:pt x="1811" y="1545"/>
                  </a:lnTo>
                  <a:lnTo>
                    <a:pt x="1808" y="1539"/>
                  </a:lnTo>
                  <a:lnTo>
                    <a:pt x="1804" y="1535"/>
                  </a:lnTo>
                  <a:lnTo>
                    <a:pt x="1803" y="1534"/>
                  </a:lnTo>
                  <a:lnTo>
                    <a:pt x="1801" y="1532"/>
                  </a:lnTo>
                  <a:lnTo>
                    <a:pt x="1799" y="1534"/>
                  </a:lnTo>
                  <a:lnTo>
                    <a:pt x="1798" y="1535"/>
                  </a:lnTo>
                  <a:lnTo>
                    <a:pt x="1790" y="1543"/>
                  </a:lnTo>
                  <a:lnTo>
                    <a:pt x="1779" y="1554"/>
                  </a:lnTo>
                  <a:lnTo>
                    <a:pt x="1771" y="1563"/>
                  </a:lnTo>
                  <a:lnTo>
                    <a:pt x="1768" y="1567"/>
                  </a:lnTo>
                  <a:lnTo>
                    <a:pt x="1754" y="1561"/>
                  </a:lnTo>
                  <a:lnTo>
                    <a:pt x="1744" y="1556"/>
                  </a:lnTo>
                  <a:lnTo>
                    <a:pt x="1734" y="1551"/>
                  </a:lnTo>
                  <a:lnTo>
                    <a:pt x="1720" y="1544"/>
                  </a:lnTo>
                  <a:lnTo>
                    <a:pt x="1717" y="1546"/>
                  </a:lnTo>
                  <a:lnTo>
                    <a:pt x="1712" y="1550"/>
                  </a:lnTo>
                  <a:lnTo>
                    <a:pt x="1710" y="1551"/>
                  </a:lnTo>
                  <a:lnTo>
                    <a:pt x="1708" y="1551"/>
                  </a:lnTo>
                  <a:lnTo>
                    <a:pt x="1706" y="1548"/>
                  </a:lnTo>
                  <a:lnTo>
                    <a:pt x="1706" y="1543"/>
                  </a:lnTo>
                  <a:lnTo>
                    <a:pt x="1706" y="1537"/>
                  </a:lnTo>
                  <a:lnTo>
                    <a:pt x="1707" y="1531"/>
                  </a:lnTo>
                  <a:lnTo>
                    <a:pt x="1709" y="1526"/>
                  </a:lnTo>
                  <a:lnTo>
                    <a:pt x="1711" y="1522"/>
                  </a:lnTo>
                  <a:lnTo>
                    <a:pt x="1714" y="1517"/>
                  </a:lnTo>
                  <a:lnTo>
                    <a:pt x="1715" y="1515"/>
                  </a:lnTo>
                  <a:lnTo>
                    <a:pt x="1717" y="1517"/>
                  </a:lnTo>
                  <a:lnTo>
                    <a:pt x="1723" y="1520"/>
                  </a:lnTo>
                  <a:lnTo>
                    <a:pt x="1725" y="1521"/>
                  </a:lnTo>
                  <a:lnTo>
                    <a:pt x="1727" y="1520"/>
                  </a:lnTo>
                  <a:lnTo>
                    <a:pt x="1729" y="1518"/>
                  </a:lnTo>
                  <a:lnTo>
                    <a:pt x="1730" y="1514"/>
                  </a:lnTo>
                  <a:lnTo>
                    <a:pt x="1730" y="1501"/>
                  </a:lnTo>
                  <a:lnTo>
                    <a:pt x="1730" y="1492"/>
                  </a:lnTo>
                  <a:lnTo>
                    <a:pt x="1731" y="1483"/>
                  </a:lnTo>
                  <a:lnTo>
                    <a:pt x="1732" y="1477"/>
                  </a:lnTo>
                  <a:lnTo>
                    <a:pt x="1731" y="1476"/>
                  </a:lnTo>
                  <a:lnTo>
                    <a:pt x="1729" y="1475"/>
                  </a:lnTo>
                  <a:lnTo>
                    <a:pt x="1726" y="1475"/>
                  </a:lnTo>
                  <a:lnTo>
                    <a:pt x="1722" y="1474"/>
                  </a:lnTo>
                  <a:lnTo>
                    <a:pt x="1710" y="1474"/>
                  </a:lnTo>
                  <a:lnTo>
                    <a:pt x="1696" y="1473"/>
                  </a:lnTo>
                  <a:lnTo>
                    <a:pt x="1684" y="1472"/>
                  </a:lnTo>
                  <a:lnTo>
                    <a:pt x="1672" y="1471"/>
                  </a:lnTo>
                  <a:lnTo>
                    <a:pt x="1668" y="1470"/>
                  </a:lnTo>
                  <a:lnTo>
                    <a:pt x="1665" y="1468"/>
                  </a:lnTo>
                  <a:lnTo>
                    <a:pt x="1663" y="1466"/>
                  </a:lnTo>
                  <a:lnTo>
                    <a:pt x="1663" y="1464"/>
                  </a:lnTo>
                  <a:lnTo>
                    <a:pt x="1664" y="1462"/>
                  </a:lnTo>
                  <a:lnTo>
                    <a:pt x="1666" y="1460"/>
                  </a:lnTo>
                  <a:lnTo>
                    <a:pt x="1670" y="1458"/>
                  </a:lnTo>
                  <a:lnTo>
                    <a:pt x="1674" y="1456"/>
                  </a:lnTo>
                  <a:lnTo>
                    <a:pt x="1685" y="1453"/>
                  </a:lnTo>
                  <a:lnTo>
                    <a:pt x="1696" y="1451"/>
                  </a:lnTo>
                  <a:lnTo>
                    <a:pt x="1708" y="1449"/>
                  </a:lnTo>
                  <a:lnTo>
                    <a:pt x="1719" y="1448"/>
                  </a:lnTo>
                  <a:lnTo>
                    <a:pt x="1723" y="1448"/>
                  </a:lnTo>
                  <a:lnTo>
                    <a:pt x="1726" y="1448"/>
                  </a:lnTo>
                  <a:lnTo>
                    <a:pt x="1729" y="1449"/>
                  </a:lnTo>
                  <a:lnTo>
                    <a:pt x="1730" y="1450"/>
                  </a:lnTo>
                  <a:lnTo>
                    <a:pt x="1732" y="1455"/>
                  </a:lnTo>
                  <a:lnTo>
                    <a:pt x="1736" y="1459"/>
                  </a:lnTo>
                  <a:lnTo>
                    <a:pt x="1742" y="1465"/>
                  </a:lnTo>
                  <a:lnTo>
                    <a:pt x="1748" y="1471"/>
                  </a:lnTo>
                  <a:lnTo>
                    <a:pt x="1752" y="1474"/>
                  </a:lnTo>
                  <a:lnTo>
                    <a:pt x="1757" y="1477"/>
                  </a:lnTo>
                  <a:lnTo>
                    <a:pt x="1763" y="1480"/>
                  </a:lnTo>
                  <a:lnTo>
                    <a:pt x="1768" y="1482"/>
                  </a:lnTo>
                  <a:lnTo>
                    <a:pt x="1773" y="1482"/>
                  </a:lnTo>
                  <a:lnTo>
                    <a:pt x="1776" y="1482"/>
                  </a:lnTo>
                  <a:lnTo>
                    <a:pt x="1777" y="1481"/>
                  </a:lnTo>
                  <a:lnTo>
                    <a:pt x="1778" y="1480"/>
                  </a:lnTo>
                  <a:lnTo>
                    <a:pt x="1778" y="1479"/>
                  </a:lnTo>
                  <a:lnTo>
                    <a:pt x="1778" y="1477"/>
                  </a:lnTo>
                  <a:lnTo>
                    <a:pt x="1774" y="1472"/>
                  </a:lnTo>
                  <a:lnTo>
                    <a:pt x="1769" y="1465"/>
                  </a:lnTo>
                  <a:lnTo>
                    <a:pt x="1763" y="1459"/>
                  </a:lnTo>
                  <a:lnTo>
                    <a:pt x="1756" y="1453"/>
                  </a:lnTo>
                  <a:lnTo>
                    <a:pt x="1751" y="1448"/>
                  </a:lnTo>
                  <a:lnTo>
                    <a:pt x="1747" y="1443"/>
                  </a:lnTo>
                  <a:lnTo>
                    <a:pt x="1747" y="1442"/>
                  </a:lnTo>
                  <a:lnTo>
                    <a:pt x="1747" y="1441"/>
                  </a:lnTo>
                  <a:lnTo>
                    <a:pt x="1748" y="1441"/>
                  </a:lnTo>
                  <a:lnTo>
                    <a:pt x="1750" y="1441"/>
                  </a:lnTo>
                  <a:lnTo>
                    <a:pt x="1764" y="1446"/>
                  </a:lnTo>
                  <a:lnTo>
                    <a:pt x="1778" y="1450"/>
                  </a:lnTo>
                  <a:lnTo>
                    <a:pt x="1786" y="1451"/>
                  </a:lnTo>
                  <a:lnTo>
                    <a:pt x="1792" y="1452"/>
                  </a:lnTo>
                  <a:lnTo>
                    <a:pt x="1797" y="1451"/>
                  </a:lnTo>
                  <a:lnTo>
                    <a:pt x="1802" y="1449"/>
                  </a:lnTo>
                  <a:lnTo>
                    <a:pt x="1816" y="1436"/>
                  </a:lnTo>
                  <a:lnTo>
                    <a:pt x="1835" y="1417"/>
                  </a:lnTo>
                  <a:lnTo>
                    <a:pt x="1845" y="1410"/>
                  </a:lnTo>
                  <a:lnTo>
                    <a:pt x="1854" y="1404"/>
                  </a:lnTo>
                  <a:lnTo>
                    <a:pt x="1857" y="1403"/>
                  </a:lnTo>
                  <a:lnTo>
                    <a:pt x="1860" y="1402"/>
                  </a:lnTo>
                  <a:lnTo>
                    <a:pt x="1862" y="1403"/>
                  </a:lnTo>
                  <a:lnTo>
                    <a:pt x="1863" y="1405"/>
                  </a:lnTo>
                  <a:lnTo>
                    <a:pt x="1863" y="1408"/>
                  </a:lnTo>
                  <a:lnTo>
                    <a:pt x="1863" y="1413"/>
                  </a:lnTo>
                  <a:lnTo>
                    <a:pt x="1861" y="1419"/>
                  </a:lnTo>
                  <a:lnTo>
                    <a:pt x="1859" y="1427"/>
                  </a:lnTo>
                  <a:lnTo>
                    <a:pt x="1853" y="1443"/>
                  </a:lnTo>
                  <a:lnTo>
                    <a:pt x="1845" y="1461"/>
                  </a:lnTo>
                  <a:lnTo>
                    <a:pt x="1838" y="1479"/>
                  </a:lnTo>
                  <a:lnTo>
                    <a:pt x="1832" y="1495"/>
                  </a:lnTo>
                  <a:lnTo>
                    <a:pt x="1830" y="1501"/>
                  </a:lnTo>
                  <a:lnTo>
                    <a:pt x="1829" y="1506"/>
                  </a:lnTo>
                  <a:lnTo>
                    <a:pt x="1829" y="1510"/>
                  </a:lnTo>
                  <a:lnTo>
                    <a:pt x="1830" y="1514"/>
                  </a:lnTo>
                  <a:lnTo>
                    <a:pt x="1835" y="1516"/>
                  </a:lnTo>
                  <a:lnTo>
                    <a:pt x="1844" y="1519"/>
                  </a:lnTo>
                  <a:lnTo>
                    <a:pt x="1856" y="1521"/>
                  </a:lnTo>
                  <a:lnTo>
                    <a:pt x="1869" y="1524"/>
                  </a:lnTo>
                  <a:lnTo>
                    <a:pt x="1882" y="1526"/>
                  </a:lnTo>
                  <a:lnTo>
                    <a:pt x="1892" y="1528"/>
                  </a:lnTo>
                  <a:lnTo>
                    <a:pt x="1897" y="1529"/>
                  </a:lnTo>
                  <a:lnTo>
                    <a:pt x="1900" y="1530"/>
                  </a:lnTo>
                  <a:lnTo>
                    <a:pt x="1901" y="1531"/>
                  </a:lnTo>
                  <a:lnTo>
                    <a:pt x="1902" y="1532"/>
                  </a:lnTo>
                  <a:lnTo>
                    <a:pt x="1893" y="1536"/>
                  </a:lnTo>
                  <a:lnTo>
                    <a:pt x="1882" y="1539"/>
                  </a:lnTo>
                  <a:lnTo>
                    <a:pt x="1878" y="1541"/>
                  </a:lnTo>
                  <a:lnTo>
                    <a:pt x="1875" y="1543"/>
                  </a:lnTo>
                  <a:lnTo>
                    <a:pt x="1875" y="1545"/>
                  </a:lnTo>
                  <a:lnTo>
                    <a:pt x="1875" y="1547"/>
                  </a:lnTo>
                  <a:lnTo>
                    <a:pt x="1877" y="1549"/>
                  </a:lnTo>
                  <a:lnTo>
                    <a:pt x="1880" y="1552"/>
                  </a:lnTo>
                  <a:lnTo>
                    <a:pt x="1892" y="1562"/>
                  </a:lnTo>
                  <a:lnTo>
                    <a:pt x="1902" y="1567"/>
                  </a:lnTo>
                  <a:lnTo>
                    <a:pt x="1906" y="1568"/>
                  </a:lnTo>
                  <a:lnTo>
                    <a:pt x="1910" y="1567"/>
                  </a:lnTo>
                  <a:lnTo>
                    <a:pt x="1913" y="1565"/>
                  </a:lnTo>
                  <a:lnTo>
                    <a:pt x="1917" y="1561"/>
                  </a:lnTo>
                  <a:lnTo>
                    <a:pt x="1922" y="1551"/>
                  </a:lnTo>
                  <a:lnTo>
                    <a:pt x="1927" y="1543"/>
                  </a:lnTo>
                  <a:lnTo>
                    <a:pt x="1929" y="1541"/>
                  </a:lnTo>
                  <a:lnTo>
                    <a:pt x="1931" y="1539"/>
                  </a:lnTo>
                  <a:lnTo>
                    <a:pt x="1933" y="1539"/>
                  </a:lnTo>
                  <a:lnTo>
                    <a:pt x="1934" y="1541"/>
                  </a:lnTo>
                  <a:lnTo>
                    <a:pt x="1945" y="1549"/>
                  </a:lnTo>
                  <a:lnTo>
                    <a:pt x="1952" y="1553"/>
                  </a:lnTo>
                  <a:lnTo>
                    <a:pt x="1954" y="1553"/>
                  </a:lnTo>
                  <a:lnTo>
                    <a:pt x="1958" y="1552"/>
                  </a:lnTo>
                  <a:lnTo>
                    <a:pt x="1962" y="1550"/>
                  </a:lnTo>
                  <a:lnTo>
                    <a:pt x="1965" y="1549"/>
                  </a:lnTo>
                  <a:lnTo>
                    <a:pt x="1967" y="1546"/>
                  </a:lnTo>
                  <a:lnTo>
                    <a:pt x="1970" y="1543"/>
                  </a:lnTo>
                  <a:lnTo>
                    <a:pt x="1973" y="1536"/>
                  </a:lnTo>
                  <a:lnTo>
                    <a:pt x="1976" y="1527"/>
                  </a:lnTo>
                  <a:lnTo>
                    <a:pt x="1976" y="1522"/>
                  </a:lnTo>
                  <a:lnTo>
                    <a:pt x="1976" y="1517"/>
                  </a:lnTo>
                  <a:lnTo>
                    <a:pt x="1975" y="1512"/>
                  </a:lnTo>
                  <a:lnTo>
                    <a:pt x="1974" y="1504"/>
                  </a:lnTo>
                  <a:lnTo>
                    <a:pt x="1972" y="1501"/>
                  </a:lnTo>
                  <a:lnTo>
                    <a:pt x="1970" y="1497"/>
                  </a:lnTo>
                  <a:lnTo>
                    <a:pt x="1967" y="1494"/>
                  </a:lnTo>
                  <a:lnTo>
                    <a:pt x="1964" y="1490"/>
                  </a:lnTo>
                  <a:lnTo>
                    <a:pt x="1955" y="1482"/>
                  </a:lnTo>
                  <a:lnTo>
                    <a:pt x="1945" y="1475"/>
                  </a:lnTo>
                  <a:lnTo>
                    <a:pt x="1925" y="1462"/>
                  </a:lnTo>
                  <a:lnTo>
                    <a:pt x="1909" y="1455"/>
                  </a:lnTo>
                  <a:lnTo>
                    <a:pt x="1904" y="1452"/>
                  </a:lnTo>
                  <a:lnTo>
                    <a:pt x="1900" y="1449"/>
                  </a:lnTo>
                  <a:lnTo>
                    <a:pt x="1896" y="1446"/>
                  </a:lnTo>
                  <a:lnTo>
                    <a:pt x="1892" y="1442"/>
                  </a:lnTo>
                  <a:lnTo>
                    <a:pt x="1891" y="1439"/>
                  </a:lnTo>
                  <a:lnTo>
                    <a:pt x="1890" y="1436"/>
                  </a:lnTo>
                  <a:lnTo>
                    <a:pt x="1890" y="1433"/>
                  </a:lnTo>
                  <a:lnTo>
                    <a:pt x="1891" y="1430"/>
                  </a:lnTo>
                  <a:lnTo>
                    <a:pt x="1897" y="1424"/>
                  </a:lnTo>
                  <a:lnTo>
                    <a:pt x="1903" y="1415"/>
                  </a:lnTo>
                  <a:lnTo>
                    <a:pt x="1908" y="1407"/>
                  </a:lnTo>
                  <a:lnTo>
                    <a:pt x="1911" y="1400"/>
                  </a:lnTo>
                  <a:lnTo>
                    <a:pt x="1910" y="1393"/>
                  </a:lnTo>
                  <a:lnTo>
                    <a:pt x="1905" y="1382"/>
                  </a:lnTo>
                  <a:lnTo>
                    <a:pt x="1901" y="1370"/>
                  </a:lnTo>
                  <a:lnTo>
                    <a:pt x="1898" y="1364"/>
                  </a:lnTo>
                  <a:lnTo>
                    <a:pt x="1901" y="1359"/>
                  </a:lnTo>
                  <a:lnTo>
                    <a:pt x="1906" y="1348"/>
                  </a:lnTo>
                  <a:lnTo>
                    <a:pt x="1908" y="1342"/>
                  </a:lnTo>
                  <a:lnTo>
                    <a:pt x="1908" y="1335"/>
                  </a:lnTo>
                  <a:lnTo>
                    <a:pt x="1908" y="1332"/>
                  </a:lnTo>
                  <a:lnTo>
                    <a:pt x="1907" y="1329"/>
                  </a:lnTo>
                  <a:lnTo>
                    <a:pt x="1905" y="1326"/>
                  </a:lnTo>
                  <a:lnTo>
                    <a:pt x="1903" y="1324"/>
                  </a:lnTo>
                  <a:lnTo>
                    <a:pt x="1891" y="1315"/>
                  </a:lnTo>
                  <a:lnTo>
                    <a:pt x="1880" y="1305"/>
                  </a:lnTo>
                  <a:lnTo>
                    <a:pt x="1874" y="1302"/>
                  </a:lnTo>
                  <a:lnTo>
                    <a:pt x="1868" y="1299"/>
                  </a:lnTo>
                  <a:lnTo>
                    <a:pt x="1863" y="1299"/>
                  </a:lnTo>
                  <a:lnTo>
                    <a:pt x="1858" y="1300"/>
                  </a:lnTo>
                  <a:lnTo>
                    <a:pt x="1844" y="1308"/>
                  </a:lnTo>
                  <a:lnTo>
                    <a:pt x="1824" y="1320"/>
                  </a:lnTo>
                  <a:lnTo>
                    <a:pt x="1816" y="1324"/>
                  </a:lnTo>
                  <a:lnTo>
                    <a:pt x="1810" y="1327"/>
                  </a:lnTo>
                  <a:lnTo>
                    <a:pt x="1808" y="1328"/>
                  </a:lnTo>
                  <a:lnTo>
                    <a:pt x="1807" y="1327"/>
                  </a:lnTo>
                  <a:lnTo>
                    <a:pt x="1808" y="1327"/>
                  </a:lnTo>
                  <a:lnTo>
                    <a:pt x="1809" y="1325"/>
                  </a:lnTo>
                  <a:lnTo>
                    <a:pt x="1823" y="1316"/>
                  </a:lnTo>
                  <a:lnTo>
                    <a:pt x="1841" y="1305"/>
                  </a:lnTo>
                  <a:lnTo>
                    <a:pt x="1849" y="1300"/>
                  </a:lnTo>
                  <a:lnTo>
                    <a:pt x="1854" y="1295"/>
                  </a:lnTo>
                  <a:lnTo>
                    <a:pt x="1856" y="1291"/>
                  </a:lnTo>
                  <a:lnTo>
                    <a:pt x="1856" y="1288"/>
                  </a:lnTo>
                  <a:lnTo>
                    <a:pt x="1855" y="1285"/>
                  </a:lnTo>
                  <a:lnTo>
                    <a:pt x="1853" y="1282"/>
                  </a:lnTo>
                  <a:lnTo>
                    <a:pt x="1846" y="1276"/>
                  </a:lnTo>
                  <a:lnTo>
                    <a:pt x="1839" y="1272"/>
                  </a:lnTo>
                  <a:lnTo>
                    <a:pt x="1833" y="1268"/>
                  </a:lnTo>
                  <a:lnTo>
                    <a:pt x="1826" y="1265"/>
                  </a:lnTo>
                  <a:lnTo>
                    <a:pt x="1820" y="1263"/>
                  </a:lnTo>
                  <a:lnTo>
                    <a:pt x="1814" y="1260"/>
                  </a:lnTo>
                  <a:lnTo>
                    <a:pt x="1810" y="1257"/>
                  </a:lnTo>
                  <a:lnTo>
                    <a:pt x="1807" y="1253"/>
                  </a:lnTo>
                  <a:lnTo>
                    <a:pt x="1798" y="1239"/>
                  </a:lnTo>
                  <a:lnTo>
                    <a:pt x="1787" y="1222"/>
                  </a:lnTo>
                  <a:lnTo>
                    <a:pt x="1776" y="1208"/>
                  </a:lnTo>
                  <a:lnTo>
                    <a:pt x="1771" y="1201"/>
                  </a:lnTo>
                  <a:lnTo>
                    <a:pt x="1773" y="1199"/>
                  </a:lnTo>
                  <a:lnTo>
                    <a:pt x="1776" y="1193"/>
                  </a:lnTo>
                  <a:lnTo>
                    <a:pt x="1777" y="1190"/>
                  </a:lnTo>
                  <a:lnTo>
                    <a:pt x="1778" y="1186"/>
                  </a:lnTo>
                  <a:lnTo>
                    <a:pt x="1778" y="1181"/>
                  </a:lnTo>
                  <a:lnTo>
                    <a:pt x="1776" y="1178"/>
                  </a:lnTo>
                  <a:lnTo>
                    <a:pt x="1768" y="1163"/>
                  </a:lnTo>
                  <a:lnTo>
                    <a:pt x="1756" y="1137"/>
                  </a:lnTo>
                  <a:lnTo>
                    <a:pt x="1746" y="1113"/>
                  </a:lnTo>
                  <a:lnTo>
                    <a:pt x="1741" y="1103"/>
                  </a:lnTo>
                  <a:lnTo>
                    <a:pt x="1736" y="1095"/>
                  </a:lnTo>
                  <a:lnTo>
                    <a:pt x="1727" y="1077"/>
                  </a:lnTo>
                  <a:lnTo>
                    <a:pt x="1721" y="1068"/>
                  </a:lnTo>
                  <a:lnTo>
                    <a:pt x="1715" y="1062"/>
                  </a:lnTo>
                  <a:lnTo>
                    <a:pt x="1713" y="1061"/>
                  </a:lnTo>
                  <a:lnTo>
                    <a:pt x="1711" y="1061"/>
                  </a:lnTo>
                  <a:lnTo>
                    <a:pt x="1709" y="1061"/>
                  </a:lnTo>
                  <a:lnTo>
                    <a:pt x="1708" y="1064"/>
                  </a:lnTo>
                  <a:lnTo>
                    <a:pt x="1705" y="1073"/>
                  </a:lnTo>
                  <a:lnTo>
                    <a:pt x="1699" y="1085"/>
                  </a:lnTo>
                  <a:lnTo>
                    <a:pt x="1690" y="1100"/>
                  </a:lnTo>
                  <a:lnTo>
                    <a:pt x="1682" y="1115"/>
                  </a:lnTo>
                  <a:lnTo>
                    <a:pt x="1671" y="1129"/>
                  </a:lnTo>
                  <a:lnTo>
                    <a:pt x="1662" y="1140"/>
                  </a:lnTo>
                  <a:lnTo>
                    <a:pt x="1658" y="1143"/>
                  </a:lnTo>
                  <a:lnTo>
                    <a:pt x="1654" y="1146"/>
                  </a:lnTo>
                  <a:lnTo>
                    <a:pt x="1649" y="1146"/>
                  </a:lnTo>
                  <a:lnTo>
                    <a:pt x="1646" y="1145"/>
                  </a:lnTo>
                  <a:lnTo>
                    <a:pt x="1639" y="1141"/>
                  </a:lnTo>
                  <a:lnTo>
                    <a:pt x="1633" y="1135"/>
                  </a:lnTo>
                  <a:lnTo>
                    <a:pt x="1627" y="1130"/>
                  </a:lnTo>
                  <a:lnTo>
                    <a:pt x="1622" y="1125"/>
                  </a:lnTo>
                  <a:lnTo>
                    <a:pt x="1617" y="1120"/>
                  </a:lnTo>
                  <a:lnTo>
                    <a:pt x="1614" y="1114"/>
                  </a:lnTo>
                  <a:lnTo>
                    <a:pt x="1613" y="1110"/>
                  </a:lnTo>
                  <a:lnTo>
                    <a:pt x="1612" y="1106"/>
                  </a:lnTo>
                  <a:lnTo>
                    <a:pt x="1614" y="1093"/>
                  </a:lnTo>
                  <a:lnTo>
                    <a:pt x="1614" y="1075"/>
                  </a:lnTo>
                  <a:lnTo>
                    <a:pt x="1614" y="1065"/>
                  </a:lnTo>
                  <a:lnTo>
                    <a:pt x="1613" y="1057"/>
                  </a:lnTo>
                  <a:lnTo>
                    <a:pt x="1611" y="1051"/>
                  </a:lnTo>
                  <a:lnTo>
                    <a:pt x="1607" y="1046"/>
                  </a:lnTo>
                  <a:lnTo>
                    <a:pt x="1595" y="1040"/>
                  </a:lnTo>
                  <a:lnTo>
                    <a:pt x="1577" y="1034"/>
                  </a:lnTo>
                  <a:lnTo>
                    <a:pt x="1569" y="1031"/>
                  </a:lnTo>
                  <a:lnTo>
                    <a:pt x="1561" y="1026"/>
                  </a:lnTo>
                  <a:lnTo>
                    <a:pt x="1558" y="1024"/>
                  </a:lnTo>
                  <a:lnTo>
                    <a:pt x="1556" y="1022"/>
                  </a:lnTo>
                  <a:lnTo>
                    <a:pt x="1554" y="1020"/>
                  </a:lnTo>
                  <a:lnTo>
                    <a:pt x="1554" y="1018"/>
                  </a:lnTo>
                  <a:lnTo>
                    <a:pt x="1553" y="1013"/>
                  </a:lnTo>
                  <a:lnTo>
                    <a:pt x="1550" y="1008"/>
                  </a:lnTo>
                  <a:lnTo>
                    <a:pt x="1546" y="1000"/>
                  </a:lnTo>
                  <a:lnTo>
                    <a:pt x="1541" y="994"/>
                  </a:lnTo>
                  <a:lnTo>
                    <a:pt x="1533" y="983"/>
                  </a:lnTo>
                  <a:lnTo>
                    <a:pt x="1526" y="977"/>
                  </a:lnTo>
                  <a:lnTo>
                    <a:pt x="1519" y="974"/>
                  </a:lnTo>
                  <a:lnTo>
                    <a:pt x="1509" y="972"/>
                  </a:lnTo>
                  <a:lnTo>
                    <a:pt x="1504" y="971"/>
                  </a:lnTo>
                  <a:lnTo>
                    <a:pt x="1500" y="971"/>
                  </a:lnTo>
                  <a:lnTo>
                    <a:pt x="1497" y="972"/>
                  </a:lnTo>
                  <a:lnTo>
                    <a:pt x="1496" y="973"/>
                  </a:lnTo>
                  <a:lnTo>
                    <a:pt x="1496" y="978"/>
                  </a:lnTo>
                  <a:lnTo>
                    <a:pt x="1496" y="982"/>
                  </a:lnTo>
                  <a:lnTo>
                    <a:pt x="1495" y="985"/>
                  </a:lnTo>
                  <a:lnTo>
                    <a:pt x="1494" y="986"/>
                  </a:lnTo>
                  <a:lnTo>
                    <a:pt x="1493" y="986"/>
                  </a:lnTo>
                  <a:lnTo>
                    <a:pt x="1490" y="985"/>
                  </a:lnTo>
                  <a:lnTo>
                    <a:pt x="1483" y="981"/>
                  </a:lnTo>
                  <a:lnTo>
                    <a:pt x="1475" y="978"/>
                  </a:lnTo>
                  <a:lnTo>
                    <a:pt x="1469" y="976"/>
                  </a:lnTo>
                  <a:lnTo>
                    <a:pt x="1464" y="976"/>
                  </a:lnTo>
                  <a:lnTo>
                    <a:pt x="1457" y="976"/>
                  </a:lnTo>
                  <a:lnTo>
                    <a:pt x="1447" y="976"/>
                  </a:lnTo>
                  <a:lnTo>
                    <a:pt x="1442" y="977"/>
                  </a:lnTo>
                  <a:lnTo>
                    <a:pt x="1437" y="978"/>
                  </a:lnTo>
                  <a:lnTo>
                    <a:pt x="1432" y="981"/>
                  </a:lnTo>
                  <a:lnTo>
                    <a:pt x="1430" y="986"/>
                  </a:lnTo>
                  <a:lnTo>
                    <a:pt x="1429" y="992"/>
                  </a:lnTo>
                  <a:lnTo>
                    <a:pt x="1429" y="998"/>
                  </a:lnTo>
                  <a:lnTo>
                    <a:pt x="1429" y="1007"/>
                  </a:lnTo>
                  <a:lnTo>
                    <a:pt x="1430" y="1015"/>
                  </a:lnTo>
                  <a:lnTo>
                    <a:pt x="1430" y="1023"/>
                  </a:lnTo>
                  <a:lnTo>
                    <a:pt x="1430" y="1032"/>
                  </a:lnTo>
                  <a:lnTo>
                    <a:pt x="1429" y="1038"/>
                  </a:lnTo>
                  <a:lnTo>
                    <a:pt x="1427" y="1042"/>
                  </a:lnTo>
                  <a:lnTo>
                    <a:pt x="1423" y="1048"/>
                  </a:lnTo>
                  <a:lnTo>
                    <a:pt x="1421" y="1054"/>
                  </a:lnTo>
                  <a:lnTo>
                    <a:pt x="1422" y="1058"/>
                  </a:lnTo>
                  <a:lnTo>
                    <a:pt x="1426" y="1064"/>
                  </a:lnTo>
                  <a:lnTo>
                    <a:pt x="1429" y="1071"/>
                  </a:lnTo>
                  <a:lnTo>
                    <a:pt x="1431" y="1078"/>
                  </a:lnTo>
                  <a:lnTo>
                    <a:pt x="1432" y="1081"/>
                  </a:lnTo>
                  <a:lnTo>
                    <a:pt x="1432" y="1084"/>
                  </a:lnTo>
                  <a:lnTo>
                    <a:pt x="1431" y="1087"/>
                  </a:lnTo>
                  <a:lnTo>
                    <a:pt x="1430" y="1091"/>
                  </a:lnTo>
                  <a:lnTo>
                    <a:pt x="1422" y="1097"/>
                  </a:lnTo>
                  <a:lnTo>
                    <a:pt x="1412" y="1102"/>
                  </a:lnTo>
                  <a:lnTo>
                    <a:pt x="1409" y="1104"/>
                  </a:lnTo>
                  <a:lnTo>
                    <a:pt x="1408" y="1107"/>
                  </a:lnTo>
                  <a:lnTo>
                    <a:pt x="1407" y="1109"/>
                  </a:lnTo>
                  <a:lnTo>
                    <a:pt x="1408" y="1113"/>
                  </a:lnTo>
                  <a:lnTo>
                    <a:pt x="1409" y="1117"/>
                  </a:lnTo>
                  <a:lnTo>
                    <a:pt x="1413" y="1122"/>
                  </a:lnTo>
                  <a:lnTo>
                    <a:pt x="1417" y="1127"/>
                  </a:lnTo>
                  <a:lnTo>
                    <a:pt x="1423" y="1133"/>
                  </a:lnTo>
                  <a:lnTo>
                    <a:pt x="1435" y="1147"/>
                  </a:lnTo>
                  <a:lnTo>
                    <a:pt x="1444" y="1158"/>
                  </a:lnTo>
                  <a:lnTo>
                    <a:pt x="1450" y="1168"/>
                  </a:lnTo>
                  <a:lnTo>
                    <a:pt x="1453" y="1177"/>
                  </a:lnTo>
                  <a:lnTo>
                    <a:pt x="1456" y="1187"/>
                  </a:lnTo>
                  <a:lnTo>
                    <a:pt x="1456" y="1195"/>
                  </a:lnTo>
                  <a:lnTo>
                    <a:pt x="1453" y="1203"/>
                  </a:lnTo>
                  <a:lnTo>
                    <a:pt x="1451" y="1212"/>
                  </a:lnTo>
                  <a:lnTo>
                    <a:pt x="1448" y="1221"/>
                  </a:lnTo>
                  <a:lnTo>
                    <a:pt x="1443" y="1231"/>
                  </a:lnTo>
                  <a:lnTo>
                    <a:pt x="1437" y="1240"/>
                  </a:lnTo>
                  <a:lnTo>
                    <a:pt x="1430" y="1250"/>
                  </a:lnTo>
                  <a:lnTo>
                    <a:pt x="1418" y="1264"/>
                  </a:lnTo>
                  <a:lnTo>
                    <a:pt x="1408" y="1273"/>
                  </a:lnTo>
                  <a:lnTo>
                    <a:pt x="1402" y="1277"/>
                  </a:lnTo>
                  <a:lnTo>
                    <a:pt x="1396" y="1281"/>
                  </a:lnTo>
                  <a:lnTo>
                    <a:pt x="1394" y="1283"/>
                  </a:lnTo>
                  <a:lnTo>
                    <a:pt x="1393" y="1286"/>
                  </a:lnTo>
                  <a:lnTo>
                    <a:pt x="1392" y="1288"/>
                  </a:lnTo>
                  <a:lnTo>
                    <a:pt x="1393" y="1291"/>
                  </a:lnTo>
                  <a:lnTo>
                    <a:pt x="1394" y="1300"/>
                  </a:lnTo>
                  <a:lnTo>
                    <a:pt x="1394" y="1311"/>
                  </a:lnTo>
                  <a:lnTo>
                    <a:pt x="1394" y="1323"/>
                  </a:lnTo>
                  <a:lnTo>
                    <a:pt x="1394" y="1330"/>
                  </a:lnTo>
                  <a:lnTo>
                    <a:pt x="1398" y="1344"/>
                  </a:lnTo>
                  <a:lnTo>
                    <a:pt x="1401" y="1361"/>
                  </a:lnTo>
                  <a:lnTo>
                    <a:pt x="1401" y="1371"/>
                  </a:lnTo>
                  <a:lnTo>
                    <a:pt x="1400" y="1386"/>
                  </a:lnTo>
                  <a:lnTo>
                    <a:pt x="1398" y="1392"/>
                  </a:lnTo>
                  <a:lnTo>
                    <a:pt x="1395" y="1397"/>
                  </a:lnTo>
                  <a:lnTo>
                    <a:pt x="1393" y="1399"/>
                  </a:lnTo>
                  <a:lnTo>
                    <a:pt x="1391" y="1400"/>
                  </a:lnTo>
                  <a:lnTo>
                    <a:pt x="1388" y="1400"/>
                  </a:lnTo>
                  <a:lnTo>
                    <a:pt x="1385" y="1400"/>
                  </a:lnTo>
                  <a:lnTo>
                    <a:pt x="1379" y="1398"/>
                  </a:lnTo>
                  <a:lnTo>
                    <a:pt x="1374" y="1396"/>
                  </a:lnTo>
                  <a:lnTo>
                    <a:pt x="1370" y="1392"/>
                  </a:lnTo>
                  <a:lnTo>
                    <a:pt x="1366" y="1388"/>
                  </a:lnTo>
                  <a:lnTo>
                    <a:pt x="1359" y="1378"/>
                  </a:lnTo>
                  <a:lnTo>
                    <a:pt x="1353" y="1369"/>
                  </a:lnTo>
                  <a:lnTo>
                    <a:pt x="1346" y="1362"/>
                  </a:lnTo>
                  <a:lnTo>
                    <a:pt x="1338" y="1356"/>
                  </a:lnTo>
                  <a:lnTo>
                    <a:pt x="1336" y="1353"/>
                  </a:lnTo>
                  <a:lnTo>
                    <a:pt x="1334" y="1351"/>
                  </a:lnTo>
                  <a:lnTo>
                    <a:pt x="1333" y="1349"/>
                  </a:lnTo>
                  <a:lnTo>
                    <a:pt x="1333" y="1346"/>
                  </a:lnTo>
                  <a:lnTo>
                    <a:pt x="1336" y="1342"/>
                  </a:lnTo>
                  <a:lnTo>
                    <a:pt x="1340" y="1339"/>
                  </a:lnTo>
                  <a:lnTo>
                    <a:pt x="1342" y="1338"/>
                  </a:lnTo>
                  <a:lnTo>
                    <a:pt x="1343" y="1335"/>
                  </a:lnTo>
                  <a:lnTo>
                    <a:pt x="1343" y="1334"/>
                  </a:lnTo>
                  <a:lnTo>
                    <a:pt x="1341" y="1332"/>
                  </a:lnTo>
                  <a:lnTo>
                    <a:pt x="1337" y="1327"/>
                  </a:lnTo>
                  <a:lnTo>
                    <a:pt x="1334" y="1324"/>
                  </a:lnTo>
                  <a:lnTo>
                    <a:pt x="1333" y="1322"/>
                  </a:lnTo>
                  <a:lnTo>
                    <a:pt x="1332" y="1319"/>
                  </a:lnTo>
                  <a:lnTo>
                    <a:pt x="1332" y="1316"/>
                  </a:lnTo>
                  <a:lnTo>
                    <a:pt x="1333" y="1312"/>
                  </a:lnTo>
                  <a:lnTo>
                    <a:pt x="1334" y="1308"/>
                  </a:lnTo>
                  <a:lnTo>
                    <a:pt x="1337" y="1306"/>
                  </a:lnTo>
                  <a:lnTo>
                    <a:pt x="1339" y="1304"/>
                  </a:lnTo>
                  <a:lnTo>
                    <a:pt x="1341" y="1303"/>
                  </a:lnTo>
                  <a:lnTo>
                    <a:pt x="1343" y="1301"/>
                  </a:lnTo>
                  <a:lnTo>
                    <a:pt x="1344" y="1299"/>
                  </a:lnTo>
                  <a:lnTo>
                    <a:pt x="1343" y="1295"/>
                  </a:lnTo>
                  <a:lnTo>
                    <a:pt x="1341" y="1289"/>
                  </a:lnTo>
                  <a:lnTo>
                    <a:pt x="1335" y="1278"/>
                  </a:lnTo>
                  <a:lnTo>
                    <a:pt x="1329" y="1268"/>
                  </a:lnTo>
                  <a:lnTo>
                    <a:pt x="1326" y="1264"/>
                  </a:lnTo>
                  <a:lnTo>
                    <a:pt x="1321" y="1261"/>
                  </a:lnTo>
                  <a:lnTo>
                    <a:pt x="1317" y="1259"/>
                  </a:lnTo>
                  <a:lnTo>
                    <a:pt x="1312" y="1259"/>
                  </a:lnTo>
                  <a:lnTo>
                    <a:pt x="1308" y="1258"/>
                  </a:lnTo>
                  <a:lnTo>
                    <a:pt x="1304" y="1255"/>
                  </a:lnTo>
                  <a:lnTo>
                    <a:pt x="1298" y="1250"/>
                  </a:lnTo>
                  <a:lnTo>
                    <a:pt x="1293" y="1242"/>
                  </a:lnTo>
                  <a:lnTo>
                    <a:pt x="1282" y="1223"/>
                  </a:lnTo>
                  <a:lnTo>
                    <a:pt x="1269" y="1202"/>
                  </a:lnTo>
                  <a:lnTo>
                    <a:pt x="1256" y="1181"/>
                  </a:lnTo>
                  <a:lnTo>
                    <a:pt x="1245" y="1162"/>
                  </a:lnTo>
                  <a:lnTo>
                    <a:pt x="1237" y="1147"/>
                  </a:lnTo>
                  <a:lnTo>
                    <a:pt x="1230" y="1139"/>
                  </a:lnTo>
                  <a:lnTo>
                    <a:pt x="1224" y="1135"/>
                  </a:lnTo>
                  <a:lnTo>
                    <a:pt x="1217" y="1131"/>
                  </a:lnTo>
                  <a:lnTo>
                    <a:pt x="1206" y="1128"/>
                  </a:lnTo>
                  <a:lnTo>
                    <a:pt x="1196" y="1126"/>
                  </a:lnTo>
                  <a:lnTo>
                    <a:pt x="1185" y="1125"/>
                  </a:lnTo>
                  <a:lnTo>
                    <a:pt x="1175" y="1125"/>
                  </a:lnTo>
                  <a:lnTo>
                    <a:pt x="1169" y="1125"/>
                  </a:lnTo>
                  <a:lnTo>
                    <a:pt x="1165" y="1126"/>
                  </a:lnTo>
                  <a:lnTo>
                    <a:pt x="1162" y="1127"/>
                  </a:lnTo>
                  <a:lnTo>
                    <a:pt x="1159" y="1129"/>
                  </a:lnTo>
                  <a:lnTo>
                    <a:pt x="1154" y="1134"/>
                  </a:lnTo>
                  <a:lnTo>
                    <a:pt x="1150" y="1143"/>
                  </a:lnTo>
                  <a:lnTo>
                    <a:pt x="1146" y="1151"/>
                  </a:lnTo>
                  <a:lnTo>
                    <a:pt x="1143" y="1158"/>
                  </a:lnTo>
                  <a:lnTo>
                    <a:pt x="1141" y="1167"/>
                  </a:lnTo>
                  <a:lnTo>
                    <a:pt x="1139" y="1172"/>
                  </a:lnTo>
                  <a:lnTo>
                    <a:pt x="1138" y="1173"/>
                  </a:lnTo>
                  <a:lnTo>
                    <a:pt x="1137" y="1174"/>
                  </a:lnTo>
                  <a:lnTo>
                    <a:pt x="1135" y="1174"/>
                  </a:lnTo>
                  <a:lnTo>
                    <a:pt x="1134" y="1173"/>
                  </a:lnTo>
                  <a:lnTo>
                    <a:pt x="1132" y="1172"/>
                  </a:lnTo>
                  <a:lnTo>
                    <a:pt x="1131" y="1173"/>
                  </a:lnTo>
                  <a:lnTo>
                    <a:pt x="1129" y="1174"/>
                  </a:lnTo>
                  <a:lnTo>
                    <a:pt x="1127" y="1177"/>
                  </a:lnTo>
                  <a:lnTo>
                    <a:pt x="1123" y="1186"/>
                  </a:lnTo>
                  <a:lnTo>
                    <a:pt x="1119" y="1196"/>
                  </a:lnTo>
                  <a:lnTo>
                    <a:pt x="1115" y="1206"/>
                  </a:lnTo>
                  <a:lnTo>
                    <a:pt x="1111" y="1215"/>
                  </a:lnTo>
                  <a:lnTo>
                    <a:pt x="1108" y="1218"/>
                  </a:lnTo>
                  <a:lnTo>
                    <a:pt x="1106" y="1220"/>
                  </a:lnTo>
                  <a:lnTo>
                    <a:pt x="1103" y="1221"/>
                  </a:lnTo>
                  <a:lnTo>
                    <a:pt x="1100" y="1220"/>
                  </a:lnTo>
                  <a:lnTo>
                    <a:pt x="1098" y="1219"/>
                  </a:lnTo>
                  <a:lnTo>
                    <a:pt x="1095" y="1215"/>
                  </a:lnTo>
                  <a:lnTo>
                    <a:pt x="1093" y="1211"/>
                  </a:lnTo>
                  <a:lnTo>
                    <a:pt x="1090" y="1206"/>
                  </a:lnTo>
                  <a:lnTo>
                    <a:pt x="1085" y="1192"/>
                  </a:lnTo>
                  <a:lnTo>
                    <a:pt x="1079" y="1176"/>
                  </a:lnTo>
                  <a:lnTo>
                    <a:pt x="1075" y="1161"/>
                  </a:lnTo>
                  <a:lnTo>
                    <a:pt x="1073" y="1145"/>
                  </a:lnTo>
                  <a:lnTo>
                    <a:pt x="1071" y="1131"/>
                  </a:lnTo>
                  <a:lnTo>
                    <a:pt x="1072" y="1120"/>
                  </a:lnTo>
                  <a:lnTo>
                    <a:pt x="1075" y="1101"/>
                  </a:lnTo>
                  <a:lnTo>
                    <a:pt x="1080" y="1079"/>
                  </a:lnTo>
                  <a:lnTo>
                    <a:pt x="1084" y="1068"/>
                  </a:lnTo>
                  <a:lnTo>
                    <a:pt x="1087" y="1058"/>
                  </a:lnTo>
                  <a:lnTo>
                    <a:pt x="1092" y="1048"/>
                  </a:lnTo>
                  <a:lnTo>
                    <a:pt x="1099" y="1040"/>
                  </a:lnTo>
                  <a:lnTo>
                    <a:pt x="1119" y="1019"/>
                  </a:lnTo>
                  <a:lnTo>
                    <a:pt x="1143" y="993"/>
                  </a:lnTo>
                  <a:lnTo>
                    <a:pt x="1165" y="970"/>
                  </a:lnTo>
                  <a:lnTo>
                    <a:pt x="1174" y="960"/>
                  </a:lnTo>
                  <a:lnTo>
                    <a:pt x="1173" y="959"/>
                  </a:lnTo>
                  <a:lnTo>
                    <a:pt x="1173" y="955"/>
                  </a:lnTo>
                  <a:lnTo>
                    <a:pt x="1173" y="952"/>
                  </a:lnTo>
                  <a:lnTo>
                    <a:pt x="1174" y="950"/>
                  </a:lnTo>
                  <a:lnTo>
                    <a:pt x="1175" y="947"/>
                  </a:lnTo>
                  <a:lnTo>
                    <a:pt x="1179" y="944"/>
                  </a:lnTo>
                  <a:lnTo>
                    <a:pt x="1189" y="933"/>
                  </a:lnTo>
                  <a:lnTo>
                    <a:pt x="1197" y="928"/>
                  </a:lnTo>
                  <a:lnTo>
                    <a:pt x="1204" y="925"/>
                  </a:lnTo>
                  <a:lnTo>
                    <a:pt x="1215" y="921"/>
                  </a:lnTo>
                  <a:lnTo>
                    <a:pt x="1220" y="918"/>
                  </a:lnTo>
                  <a:lnTo>
                    <a:pt x="1224" y="915"/>
                  </a:lnTo>
                  <a:lnTo>
                    <a:pt x="1227" y="913"/>
                  </a:lnTo>
                  <a:lnTo>
                    <a:pt x="1229" y="911"/>
                  </a:lnTo>
                  <a:lnTo>
                    <a:pt x="1234" y="903"/>
                  </a:lnTo>
                  <a:lnTo>
                    <a:pt x="1242" y="891"/>
                  </a:lnTo>
                  <a:lnTo>
                    <a:pt x="1245" y="887"/>
                  </a:lnTo>
                  <a:lnTo>
                    <a:pt x="1249" y="884"/>
                  </a:lnTo>
                  <a:lnTo>
                    <a:pt x="1250" y="883"/>
                  </a:lnTo>
                  <a:lnTo>
                    <a:pt x="1252" y="883"/>
                  </a:lnTo>
                  <a:lnTo>
                    <a:pt x="1253" y="884"/>
                  </a:lnTo>
                  <a:lnTo>
                    <a:pt x="1253" y="885"/>
                  </a:lnTo>
                  <a:lnTo>
                    <a:pt x="1254" y="890"/>
                  </a:lnTo>
                  <a:lnTo>
                    <a:pt x="1252" y="896"/>
                  </a:lnTo>
                  <a:lnTo>
                    <a:pt x="1249" y="905"/>
                  </a:lnTo>
                  <a:lnTo>
                    <a:pt x="1245" y="913"/>
                  </a:lnTo>
                  <a:lnTo>
                    <a:pt x="1242" y="922"/>
                  </a:lnTo>
                  <a:lnTo>
                    <a:pt x="1239" y="929"/>
                  </a:lnTo>
                  <a:lnTo>
                    <a:pt x="1238" y="934"/>
                  </a:lnTo>
                  <a:lnTo>
                    <a:pt x="1238" y="937"/>
                  </a:lnTo>
                  <a:lnTo>
                    <a:pt x="1245" y="938"/>
                  </a:lnTo>
                  <a:lnTo>
                    <a:pt x="1255" y="939"/>
                  </a:lnTo>
                  <a:lnTo>
                    <a:pt x="1261" y="940"/>
                  </a:lnTo>
                  <a:lnTo>
                    <a:pt x="1266" y="943"/>
                  </a:lnTo>
                  <a:lnTo>
                    <a:pt x="1270" y="945"/>
                  </a:lnTo>
                  <a:lnTo>
                    <a:pt x="1273" y="949"/>
                  </a:lnTo>
                  <a:lnTo>
                    <a:pt x="1276" y="956"/>
                  </a:lnTo>
                  <a:lnTo>
                    <a:pt x="1278" y="961"/>
                  </a:lnTo>
                  <a:lnTo>
                    <a:pt x="1281" y="961"/>
                  </a:lnTo>
                  <a:lnTo>
                    <a:pt x="1283" y="960"/>
                  </a:lnTo>
                  <a:lnTo>
                    <a:pt x="1286" y="957"/>
                  </a:lnTo>
                  <a:lnTo>
                    <a:pt x="1291" y="953"/>
                  </a:lnTo>
                  <a:lnTo>
                    <a:pt x="1295" y="946"/>
                  </a:lnTo>
                  <a:lnTo>
                    <a:pt x="1299" y="938"/>
                  </a:lnTo>
                  <a:lnTo>
                    <a:pt x="1304" y="930"/>
                  </a:lnTo>
                  <a:lnTo>
                    <a:pt x="1307" y="922"/>
                  </a:lnTo>
                  <a:lnTo>
                    <a:pt x="1309" y="915"/>
                  </a:lnTo>
                  <a:lnTo>
                    <a:pt x="1312" y="911"/>
                  </a:lnTo>
                  <a:lnTo>
                    <a:pt x="1314" y="910"/>
                  </a:lnTo>
                  <a:lnTo>
                    <a:pt x="1316" y="910"/>
                  </a:lnTo>
                  <a:lnTo>
                    <a:pt x="1318" y="911"/>
                  </a:lnTo>
                  <a:lnTo>
                    <a:pt x="1320" y="913"/>
                  </a:lnTo>
                  <a:lnTo>
                    <a:pt x="1327" y="918"/>
                  </a:lnTo>
                  <a:lnTo>
                    <a:pt x="1335" y="923"/>
                  </a:lnTo>
                  <a:lnTo>
                    <a:pt x="1344" y="928"/>
                  </a:lnTo>
                  <a:lnTo>
                    <a:pt x="1355" y="931"/>
                  </a:lnTo>
                  <a:lnTo>
                    <a:pt x="1364" y="933"/>
                  </a:lnTo>
                  <a:lnTo>
                    <a:pt x="1373" y="934"/>
                  </a:lnTo>
                  <a:lnTo>
                    <a:pt x="1376" y="934"/>
                  </a:lnTo>
                  <a:lnTo>
                    <a:pt x="1378" y="934"/>
                  </a:lnTo>
                  <a:lnTo>
                    <a:pt x="1379" y="933"/>
                  </a:lnTo>
                  <a:lnTo>
                    <a:pt x="1380" y="932"/>
                  </a:lnTo>
                  <a:lnTo>
                    <a:pt x="1380" y="930"/>
                  </a:lnTo>
                  <a:lnTo>
                    <a:pt x="1379" y="926"/>
                  </a:lnTo>
                  <a:lnTo>
                    <a:pt x="1378" y="923"/>
                  </a:lnTo>
                  <a:lnTo>
                    <a:pt x="1375" y="917"/>
                  </a:lnTo>
                  <a:lnTo>
                    <a:pt x="1368" y="907"/>
                  </a:lnTo>
                  <a:lnTo>
                    <a:pt x="1355" y="893"/>
                  </a:lnTo>
                  <a:lnTo>
                    <a:pt x="1347" y="886"/>
                  </a:lnTo>
                  <a:lnTo>
                    <a:pt x="1337" y="880"/>
                  </a:lnTo>
                  <a:lnTo>
                    <a:pt x="1327" y="873"/>
                  </a:lnTo>
                  <a:lnTo>
                    <a:pt x="1317" y="869"/>
                  </a:lnTo>
                  <a:lnTo>
                    <a:pt x="1309" y="864"/>
                  </a:lnTo>
                  <a:lnTo>
                    <a:pt x="1303" y="860"/>
                  </a:lnTo>
                  <a:lnTo>
                    <a:pt x="1300" y="858"/>
                  </a:lnTo>
                  <a:lnTo>
                    <a:pt x="1299" y="857"/>
                  </a:lnTo>
                  <a:lnTo>
                    <a:pt x="1299" y="855"/>
                  </a:lnTo>
                  <a:lnTo>
                    <a:pt x="1300" y="852"/>
                  </a:lnTo>
                  <a:lnTo>
                    <a:pt x="1308" y="847"/>
                  </a:lnTo>
                  <a:lnTo>
                    <a:pt x="1317" y="843"/>
                  </a:lnTo>
                  <a:lnTo>
                    <a:pt x="1321" y="841"/>
                  </a:lnTo>
                  <a:lnTo>
                    <a:pt x="1325" y="838"/>
                  </a:lnTo>
                  <a:lnTo>
                    <a:pt x="1328" y="834"/>
                  </a:lnTo>
                  <a:lnTo>
                    <a:pt x="1329" y="828"/>
                  </a:lnTo>
                  <a:lnTo>
                    <a:pt x="1331" y="816"/>
                  </a:lnTo>
                  <a:lnTo>
                    <a:pt x="1334" y="804"/>
                  </a:lnTo>
                  <a:lnTo>
                    <a:pt x="1336" y="799"/>
                  </a:lnTo>
                  <a:lnTo>
                    <a:pt x="1339" y="796"/>
                  </a:lnTo>
                  <a:lnTo>
                    <a:pt x="1342" y="793"/>
                  </a:lnTo>
                  <a:lnTo>
                    <a:pt x="1347" y="791"/>
                  </a:lnTo>
                  <a:lnTo>
                    <a:pt x="1348" y="790"/>
                  </a:lnTo>
                  <a:lnTo>
                    <a:pt x="1350" y="788"/>
                  </a:lnTo>
                  <a:lnTo>
                    <a:pt x="1351" y="784"/>
                  </a:lnTo>
                  <a:lnTo>
                    <a:pt x="1352" y="780"/>
                  </a:lnTo>
                  <a:lnTo>
                    <a:pt x="1352" y="770"/>
                  </a:lnTo>
                  <a:lnTo>
                    <a:pt x="1352" y="759"/>
                  </a:lnTo>
                  <a:lnTo>
                    <a:pt x="1350" y="738"/>
                  </a:lnTo>
                  <a:lnTo>
                    <a:pt x="1349" y="729"/>
                  </a:lnTo>
                  <a:lnTo>
                    <a:pt x="1352" y="723"/>
                  </a:lnTo>
                  <a:lnTo>
                    <a:pt x="1358" y="707"/>
                  </a:lnTo>
                  <a:lnTo>
                    <a:pt x="1360" y="698"/>
                  </a:lnTo>
                  <a:lnTo>
                    <a:pt x="1361" y="690"/>
                  </a:lnTo>
                  <a:lnTo>
                    <a:pt x="1361" y="687"/>
                  </a:lnTo>
                  <a:lnTo>
                    <a:pt x="1360" y="684"/>
                  </a:lnTo>
                  <a:lnTo>
                    <a:pt x="1359" y="682"/>
                  </a:lnTo>
                  <a:lnTo>
                    <a:pt x="1357" y="680"/>
                  </a:lnTo>
                  <a:lnTo>
                    <a:pt x="1342" y="671"/>
                  </a:lnTo>
                  <a:lnTo>
                    <a:pt x="1322" y="662"/>
                  </a:lnTo>
                  <a:lnTo>
                    <a:pt x="1314" y="657"/>
                  </a:lnTo>
                  <a:lnTo>
                    <a:pt x="1307" y="653"/>
                  </a:lnTo>
                  <a:lnTo>
                    <a:pt x="1303" y="650"/>
                  </a:lnTo>
                  <a:lnTo>
                    <a:pt x="1303" y="648"/>
                  </a:lnTo>
                  <a:lnTo>
                    <a:pt x="1316" y="643"/>
                  </a:lnTo>
                  <a:lnTo>
                    <a:pt x="1342" y="634"/>
                  </a:lnTo>
                  <a:lnTo>
                    <a:pt x="1356" y="630"/>
                  </a:lnTo>
                  <a:lnTo>
                    <a:pt x="1369" y="628"/>
                  </a:lnTo>
                  <a:lnTo>
                    <a:pt x="1373" y="628"/>
                  </a:lnTo>
                  <a:lnTo>
                    <a:pt x="1377" y="629"/>
                  </a:lnTo>
                  <a:lnTo>
                    <a:pt x="1379" y="630"/>
                  </a:lnTo>
                  <a:lnTo>
                    <a:pt x="1380" y="634"/>
                  </a:lnTo>
                  <a:lnTo>
                    <a:pt x="1380" y="637"/>
                  </a:lnTo>
                  <a:lnTo>
                    <a:pt x="1381" y="640"/>
                  </a:lnTo>
                  <a:lnTo>
                    <a:pt x="1382" y="642"/>
                  </a:lnTo>
                  <a:lnTo>
                    <a:pt x="1384" y="645"/>
                  </a:lnTo>
                  <a:lnTo>
                    <a:pt x="1388" y="648"/>
                  </a:lnTo>
                  <a:lnTo>
                    <a:pt x="1393" y="651"/>
                  </a:lnTo>
                  <a:lnTo>
                    <a:pt x="1398" y="652"/>
                  </a:lnTo>
                  <a:lnTo>
                    <a:pt x="1402" y="652"/>
                  </a:lnTo>
                  <a:lnTo>
                    <a:pt x="1404" y="651"/>
                  </a:lnTo>
                  <a:lnTo>
                    <a:pt x="1405" y="650"/>
                  </a:lnTo>
                  <a:lnTo>
                    <a:pt x="1406" y="649"/>
                  </a:lnTo>
                  <a:lnTo>
                    <a:pt x="1406" y="646"/>
                  </a:lnTo>
                  <a:lnTo>
                    <a:pt x="1407" y="641"/>
                  </a:lnTo>
                  <a:lnTo>
                    <a:pt x="1409" y="636"/>
                  </a:lnTo>
                  <a:lnTo>
                    <a:pt x="1413" y="629"/>
                  </a:lnTo>
                  <a:lnTo>
                    <a:pt x="1417" y="625"/>
                  </a:lnTo>
                  <a:lnTo>
                    <a:pt x="1420" y="623"/>
                  </a:lnTo>
                  <a:lnTo>
                    <a:pt x="1422" y="622"/>
                  </a:lnTo>
                  <a:lnTo>
                    <a:pt x="1425" y="621"/>
                  </a:lnTo>
                  <a:lnTo>
                    <a:pt x="1427" y="621"/>
                  </a:lnTo>
                  <a:lnTo>
                    <a:pt x="1430" y="621"/>
                  </a:lnTo>
                  <a:lnTo>
                    <a:pt x="1434" y="623"/>
                  </a:lnTo>
                  <a:lnTo>
                    <a:pt x="1437" y="625"/>
                  </a:lnTo>
                  <a:lnTo>
                    <a:pt x="1440" y="628"/>
                  </a:lnTo>
                  <a:lnTo>
                    <a:pt x="1462" y="657"/>
                  </a:lnTo>
                  <a:lnTo>
                    <a:pt x="1493" y="698"/>
                  </a:lnTo>
                  <a:lnTo>
                    <a:pt x="1509" y="720"/>
                  </a:lnTo>
                  <a:lnTo>
                    <a:pt x="1522" y="740"/>
                  </a:lnTo>
                  <a:lnTo>
                    <a:pt x="1527" y="749"/>
                  </a:lnTo>
                  <a:lnTo>
                    <a:pt x="1530" y="756"/>
                  </a:lnTo>
                  <a:lnTo>
                    <a:pt x="1532" y="761"/>
                  </a:lnTo>
                  <a:lnTo>
                    <a:pt x="1532" y="766"/>
                  </a:lnTo>
                  <a:lnTo>
                    <a:pt x="1532" y="771"/>
                  </a:lnTo>
                  <a:lnTo>
                    <a:pt x="1532" y="775"/>
                  </a:lnTo>
                  <a:lnTo>
                    <a:pt x="1533" y="779"/>
                  </a:lnTo>
                  <a:lnTo>
                    <a:pt x="1535" y="782"/>
                  </a:lnTo>
                  <a:lnTo>
                    <a:pt x="1539" y="785"/>
                  </a:lnTo>
                  <a:lnTo>
                    <a:pt x="1541" y="788"/>
                  </a:lnTo>
                  <a:lnTo>
                    <a:pt x="1553" y="788"/>
                  </a:lnTo>
                  <a:lnTo>
                    <a:pt x="1578" y="791"/>
                  </a:lnTo>
                  <a:lnTo>
                    <a:pt x="1591" y="793"/>
                  </a:lnTo>
                  <a:lnTo>
                    <a:pt x="1600" y="795"/>
                  </a:lnTo>
                  <a:lnTo>
                    <a:pt x="1604" y="797"/>
                  </a:lnTo>
                  <a:lnTo>
                    <a:pt x="1606" y="799"/>
                  </a:lnTo>
                  <a:lnTo>
                    <a:pt x="1607" y="800"/>
                  </a:lnTo>
                  <a:lnTo>
                    <a:pt x="1606" y="803"/>
                  </a:lnTo>
                  <a:lnTo>
                    <a:pt x="1599" y="813"/>
                  </a:lnTo>
                  <a:lnTo>
                    <a:pt x="1592" y="821"/>
                  </a:lnTo>
                  <a:lnTo>
                    <a:pt x="1589" y="823"/>
                  </a:lnTo>
                  <a:lnTo>
                    <a:pt x="1585" y="825"/>
                  </a:lnTo>
                  <a:lnTo>
                    <a:pt x="1581" y="824"/>
                  </a:lnTo>
                  <a:lnTo>
                    <a:pt x="1578" y="822"/>
                  </a:lnTo>
                  <a:lnTo>
                    <a:pt x="1571" y="814"/>
                  </a:lnTo>
                  <a:lnTo>
                    <a:pt x="1561" y="804"/>
                  </a:lnTo>
                  <a:lnTo>
                    <a:pt x="1556" y="800"/>
                  </a:lnTo>
                  <a:lnTo>
                    <a:pt x="1550" y="797"/>
                  </a:lnTo>
                  <a:lnTo>
                    <a:pt x="1544" y="794"/>
                  </a:lnTo>
                  <a:lnTo>
                    <a:pt x="1537" y="793"/>
                  </a:lnTo>
                  <a:lnTo>
                    <a:pt x="1532" y="793"/>
                  </a:lnTo>
                  <a:lnTo>
                    <a:pt x="1527" y="793"/>
                  </a:lnTo>
                  <a:lnTo>
                    <a:pt x="1522" y="794"/>
                  </a:lnTo>
                  <a:lnTo>
                    <a:pt x="1518" y="796"/>
                  </a:lnTo>
                  <a:lnTo>
                    <a:pt x="1515" y="798"/>
                  </a:lnTo>
                  <a:lnTo>
                    <a:pt x="1513" y="802"/>
                  </a:lnTo>
                  <a:lnTo>
                    <a:pt x="1511" y="808"/>
                  </a:lnTo>
                  <a:lnTo>
                    <a:pt x="1510" y="816"/>
                  </a:lnTo>
                  <a:lnTo>
                    <a:pt x="1510" y="823"/>
                  </a:lnTo>
                  <a:lnTo>
                    <a:pt x="1512" y="829"/>
                  </a:lnTo>
                  <a:lnTo>
                    <a:pt x="1515" y="835"/>
                  </a:lnTo>
                  <a:lnTo>
                    <a:pt x="1517" y="839"/>
                  </a:lnTo>
                  <a:lnTo>
                    <a:pt x="1519" y="842"/>
                  </a:lnTo>
                  <a:lnTo>
                    <a:pt x="1518" y="843"/>
                  </a:lnTo>
                  <a:lnTo>
                    <a:pt x="1514" y="845"/>
                  </a:lnTo>
                  <a:lnTo>
                    <a:pt x="1507" y="845"/>
                  </a:lnTo>
                  <a:lnTo>
                    <a:pt x="1485" y="843"/>
                  </a:lnTo>
                  <a:lnTo>
                    <a:pt x="1465" y="842"/>
                  </a:lnTo>
                  <a:lnTo>
                    <a:pt x="1461" y="842"/>
                  </a:lnTo>
                  <a:lnTo>
                    <a:pt x="1457" y="842"/>
                  </a:lnTo>
                  <a:lnTo>
                    <a:pt x="1453" y="843"/>
                  </a:lnTo>
                  <a:lnTo>
                    <a:pt x="1449" y="845"/>
                  </a:lnTo>
                  <a:lnTo>
                    <a:pt x="1447" y="847"/>
                  </a:lnTo>
                  <a:lnTo>
                    <a:pt x="1445" y="850"/>
                  </a:lnTo>
                  <a:lnTo>
                    <a:pt x="1443" y="855"/>
                  </a:lnTo>
                  <a:lnTo>
                    <a:pt x="1442" y="860"/>
                  </a:lnTo>
                  <a:lnTo>
                    <a:pt x="1440" y="870"/>
                  </a:lnTo>
                  <a:lnTo>
                    <a:pt x="1436" y="879"/>
                  </a:lnTo>
                  <a:lnTo>
                    <a:pt x="1431" y="887"/>
                  </a:lnTo>
                  <a:lnTo>
                    <a:pt x="1427" y="894"/>
                  </a:lnTo>
                  <a:lnTo>
                    <a:pt x="1423" y="901"/>
                  </a:lnTo>
                  <a:lnTo>
                    <a:pt x="1421" y="906"/>
                  </a:lnTo>
                  <a:lnTo>
                    <a:pt x="1421" y="908"/>
                  </a:lnTo>
                  <a:lnTo>
                    <a:pt x="1421" y="910"/>
                  </a:lnTo>
                  <a:lnTo>
                    <a:pt x="1422" y="911"/>
                  </a:lnTo>
                  <a:lnTo>
                    <a:pt x="1423" y="913"/>
                  </a:lnTo>
                  <a:lnTo>
                    <a:pt x="1426" y="913"/>
                  </a:lnTo>
                  <a:lnTo>
                    <a:pt x="1429" y="913"/>
                  </a:lnTo>
                  <a:lnTo>
                    <a:pt x="1434" y="911"/>
                  </a:lnTo>
                  <a:lnTo>
                    <a:pt x="1439" y="909"/>
                  </a:lnTo>
                  <a:lnTo>
                    <a:pt x="1450" y="903"/>
                  </a:lnTo>
                  <a:lnTo>
                    <a:pt x="1464" y="895"/>
                  </a:lnTo>
                  <a:lnTo>
                    <a:pt x="1476" y="889"/>
                  </a:lnTo>
                  <a:lnTo>
                    <a:pt x="1489" y="884"/>
                  </a:lnTo>
                  <a:lnTo>
                    <a:pt x="1494" y="883"/>
                  </a:lnTo>
                  <a:lnTo>
                    <a:pt x="1498" y="883"/>
                  </a:lnTo>
                  <a:lnTo>
                    <a:pt x="1502" y="884"/>
                  </a:lnTo>
                  <a:lnTo>
                    <a:pt x="1505" y="886"/>
                  </a:lnTo>
                  <a:lnTo>
                    <a:pt x="1513" y="896"/>
                  </a:lnTo>
                  <a:lnTo>
                    <a:pt x="1522" y="904"/>
                  </a:lnTo>
                  <a:lnTo>
                    <a:pt x="1525" y="907"/>
                  </a:lnTo>
                  <a:lnTo>
                    <a:pt x="1527" y="909"/>
                  </a:lnTo>
                  <a:lnTo>
                    <a:pt x="1529" y="912"/>
                  </a:lnTo>
                  <a:lnTo>
                    <a:pt x="1529" y="916"/>
                  </a:lnTo>
                  <a:lnTo>
                    <a:pt x="1530" y="921"/>
                  </a:lnTo>
                  <a:lnTo>
                    <a:pt x="1532" y="923"/>
                  </a:lnTo>
                  <a:lnTo>
                    <a:pt x="1535" y="925"/>
                  </a:lnTo>
                  <a:lnTo>
                    <a:pt x="1539" y="927"/>
                  </a:lnTo>
                  <a:lnTo>
                    <a:pt x="1544" y="928"/>
                  </a:lnTo>
                  <a:lnTo>
                    <a:pt x="1547" y="929"/>
                  </a:lnTo>
                  <a:lnTo>
                    <a:pt x="1550" y="931"/>
                  </a:lnTo>
                  <a:lnTo>
                    <a:pt x="1552" y="933"/>
                  </a:lnTo>
                  <a:lnTo>
                    <a:pt x="1557" y="942"/>
                  </a:lnTo>
                  <a:lnTo>
                    <a:pt x="1563" y="954"/>
                  </a:lnTo>
                  <a:lnTo>
                    <a:pt x="1568" y="960"/>
                  </a:lnTo>
                  <a:lnTo>
                    <a:pt x="1572" y="966"/>
                  </a:lnTo>
                  <a:lnTo>
                    <a:pt x="1576" y="971"/>
                  </a:lnTo>
                  <a:lnTo>
                    <a:pt x="1580" y="973"/>
                  </a:lnTo>
                  <a:lnTo>
                    <a:pt x="1589" y="974"/>
                  </a:lnTo>
                  <a:lnTo>
                    <a:pt x="1598" y="974"/>
                  </a:lnTo>
                  <a:lnTo>
                    <a:pt x="1602" y="974"/>
                  </a:lnTo>
                  <a:lnTo>
                    <a:pt x="1606" y="974"/>
                  </a:lnTo>
                  <a:lnTo>
                    <a:pt x="1610" y="976"/>
                  </a:lnTo>
                  <a:lnTo>
                    <a:pt x="1614" y="978"/>
                  </a:lnTo>
                  <a:lnTo>
                    <a:pt x="1619" y="981"/>
                  </a:lnTo>
                  <a:lnTo>
                    <a:pt x="1628" y="985"/>
                  </a:lnTo>
                  <a:lnTo>
                    <a:pt x="1641" y="987"/>
                  </a:lnTo>
                  <a:lnTo>
                    <a:pt x="1654" y="989"/>
                  </a:lnTo>
                  <a:lnTo>
                    <a:pt x="1676" y="992"/>
                  </a:lnTo>
                  <a:lnTo>
                    <a:pt x="1684" y="991"/>
                  </a:lnTo>
                  <a:lnTo>
                    <a:pt x="1670" y="978"/>
                  </a:lnTo>
                  <a:lnTo>
                    <a:pt x="1645" y="954"/>
                  </a:lnTo>
                  <a:lnTo>
                    <a:pt x="1634" y="942"/>
                  </a:lnTo>
                  <a:lnTo>
                    <a:pt x="1624" y="930"/>
                  </a:lnTo>
                  <a:lnTo>
                    <a:pt x="1621" y="926"/>
                  </a:lnTo>
                  <a:lnTo>
                    <a:pt x="1620" y="923"/>
                  </a:lnTo>
                  <a:lnTo>
                    <a:pt x="1620" y="922"/>
                  </a:lnTo>
                  <a:lnTo>
                    <a:pt x="1620" y="921"/>
                  </a:lnTo>
                  <a:lnTo>
                    <a:pt x="1620" y="921"/>
                  </a:lnTo>
                  <a:lnTo>
                    <a:pt x="1621" y="921"/>
                  </a:lnTo>
                  <a:lnTo>
                    <a:pt x="1629" y="924"/>
                  </a:lnTo>
                  <a:lnTo>
                    <a:pt x="1641" y="933"/>
                  </a:lnTo>
                  <a:lnTo>
                    <a:pt x="1657" y="945"/>
                  </a:lnTo>
                  <a:lnTo>
                    <a:pt x="1672" y="958"/>
                  </a:lnTo>
                  <a:lnTo>
                    <a:pt x="1688" y="971"/>
                  </a:lnTo>
                  <a:lnTo>
                    <a:pt x="1702" y="980"/>
                  </a:lnTo>
                  <a:lnTo>
                    <a:pt x="1707" y="985"/>
                  </a:lnTo>
                  <a:lnTo>
                    <a:pt x="1711" y="986"/>
                  </a:lnTo>
                  <a:lnTo>
                    <a:pt x="1713" y="987"/>
                  </a:lnTo>
                  <a:lnTo>
                    <a:pt x="1714" y="987"/>
                  </a:lnTo>
                  <a:lnTo>
                    <a:pt x="1715" y="986"/>
                  </a:lnTo>
                  <a:lnTo>
                    <a:pt x="1715" y="985"/>
                  </a:lnTo>
                  <a:lnTo>
                    <a:pt x="1716" y="979"/>
                  </a:lnTo>
                  <a:lnTo>
                    <a:pt x="1714" y="973"/>
                  </a:lnTo>
                  <a:lnTo>
                    <a:pt x="1712" y="968"/>
                  </a:lnTo>
                  <a:lnTo>
                    <a:pt x="1709" y="961"/>
                  </a:lnTo>
                  <a:lnTo>
                    <a:pt x="1706" y="956"/>
                  </a:lnTo>
                  <a:lnTo>
                    <a:pt x="1704" y="952"/>
                  </a:lnTo>
                  <a:lnTo>
                    <a:pt x="1703" y="949"/>
                  </a:lnTo>
                  <a:lnTo>
                    <a:pt x="1704" y="948"/>
                  </a:lnTo>
                  <a:lnTo>
                    <a:pt x="1711" y="945"/>
                  </a:lnTo>
                  <a:lnTo>
                    <a:pt x="1722" y="940"/>
                  </a:lnTo>
                  <a:lnTo>
                    <a:pt x="1727" y="937"/>
                  </a:lnTo>
                  <a:lnTo>
                    <a:pt x="1730" y="934"/>
                  </a:lnTo>
                  <a:lnTo>
                    <a:pt x="1731" y="932"/>
                  </a:lnTo>
                  <a:lnTo>
                    <a:pt x="1732" y="931"/>
                  </a:lnTo>
                  <a:lnTo>
                    <a:pt x="1732" y="929"/>
                  </a:lnTo>
                  <a:lnTo>
                    <a:pt x="1731" y="927"/>
                  </a:lnTo>
                  <a:lnTo>
                    <a:pt x="1721" y="915"/>
                  </a:lnTo>
                  <a:lnTo>
                    <a:pt x="1703" y="901"/>
                  </a:lnTo>
                  <a:lnTo>
                    <a:pt x="1684" y="884"/>
                  </a:lnTo>
                  <a:lnTo>
                    <a:pt x="1671" y="872"/>
                  </a:lnTo>
                  <a:lnTo>
                    <a:pt x="1667" y="865"/>
                  </a:lnTo>
                  <a:lnTo>
                    <a:pt x="1662" y="855"/>
                  </a:lnTo>
                  <a:lnTo>
                    <a:pt x="1657" y="841"/>
                  </a:lnTo>
                  <a:lnTo>
                    <a:pt x="1652" y="827"/>
                  </a:lnTo>
                  <a:lnTo>
                    <a:pt x="1649" y="815"/>
                  </a:lnTo>
                  <a:lnTo>
                    <a:pt x="1647" y="804"/>
                  </a:lnTo>
                  <a:lnTo>
                    <a:pt x="1648" y="800"/>
                  </a:lnTo>
                  <a:lnTo>
                    <a:pt x="1648" y="798"/>
                  </a:lnTo>
                  <a:lnTo>
                    <a:pt x="1650" y="797"/>
                  </a:lnTo>
                  <a:lnTo>
                    <a:pt x="1654" y="798"/>
                  </a:lnTo>
                  <a:lnTo>
                    <a:pt x="1667" y="806"/>
                  </a:lnTo>
                  <a:lnTo>
                    <a:pt x="1683" y="814"/>
                  </a:lnTo>
                  <a:lnTo>
                    <a:pt x="1690" y="818"/>
                  </a:lnTo>
                  <a:lnTo>
                    <a:pt x="1696" y="822"/>
                  </a:lnTo>
                  <a:lnTo>
                    <a:pt x="1699" y="825"/>
                  </a:lnTo>
                  <a:lnTo>
                    <a:pt x="1701" y="827"/>
                  </a:lnTo>
                  <a:lnTo>
                    <a:pt x="1702" y="830"/>
                  </a:lnTo>
                  <a:lnTo>
                    <a:pt x="1703" y="834"/>
                  </a:lnTo>
                  <a:lnTo>
                    <a:pt x="1703" y="843"/>
                  </a:lnTo>
                  <a:lnTo>
                    <a:pt x="1704" y="848"/>
                  </a:lnTo>
                  <a:lnTo>
                    <a:pt x="1707" y="852"/>
                  </a:lnTo>
                  <a:lnTo>
                    <a:pt x="1711" y="857"/>
                  </a:lnTo>
                  <a:lnTo>
                    <a:pt x="1719" y="864"/>
                  </a:lnTo>
                  <a:lnTo>
                    <a:pt x="1728" y="873"/>
                  </a:lnTo>
                  <a:lnTo>
                    <a:pt x="1732" y="878"/>
                  </a:lnTo>
                  <a:lnTo>
                    <a:pt x="1736" y="880"/>
                  </a:lnTo>
                  <a:lnTo>
                    <a:pt x="1737" y="880"/>
                  </a:lnTo>
                  <a:lnTo>
                    <a:pt x="1739" y="879"/>
                  </a:lnTo>
                  <a:lnTo>
                    <a:pt x="1741" y="878"/>
                  </a:lnTo>
                  <a:lnTo>
                    <a:pt x="1742" y="876"/>
                  </a:lnTo>
                  <a:lnTo>
                    <a:pt x="1745" y="862"/>
                  </a:lnTo>
                  <a:lnTo>
                    <a:pt x="1747" y="844"/>
                  </a:lnTo>
                  <a:lnTo>
                    <a:pt x="1748" y="835"/>
                  </a:lnTo>
                  <a:lnTo>
                    <a:pt x="1749" y="827"/>
                  </a:lnTo>
                  <a:lnTo>
                    <a:pt x="1751" y="821"/>
                  </a:lnTo>
                  <a:lnTo>
                    <a:pt x="1754" y="817"/>
                  </a:lnTo>
                  <a:lnTo>
                    <a:pt x="1761" y="811"/>
                  </a:lnTo>
                  <a:lnTo>
                    <a:pt x="1769" y="803"/>
                  </a:lnTo>
                  <a:lnTo>
                    <a:pt x="1772" y="800"/>
                  </a:lnTo>
                  <a:lnTo>
                    <a:pt x="1773" y="797"/>
                  </a:lnTo>
                  <a:lnTo>
                    <a:pt x="1773" y="793"/>
                  </a:lnTo>
                  <a:lnTo>
                    <a:pt x="1771" y="789"/>
                  </a:lnTo>
                  <a:lnTo>
                    <a:pt x="1766" y="783"/>
                  </a:lnTo>
                  <a:lnTo>
                    <a:pt x="1759" y="779"/>
                  </a:lnTo>
                  <a:lnTo>
                    <a:pt x="1752" y="774"/>
                  </a:lnTo>
                  <a:lnTo>
                    <a:pt x="1743" y="769"/>
                  </a:lnTo>
                  <a:lnTo>
                    <a:pt x="1727" y="760"/>
                  </a:lnTo>
                  <a:lnTo>
                    <a:pt x="1715" y="753"/>
                  </a:lnTo>
                  <a:lnTo>
                    <a:pt x="1701" y="741"/>
                  </a:lnTo>
                  <a:lnTo>
                    <a:pt x="1674" y="722"/>
                  </a:lnTo>
                  <a:lnTo>
                    <a:pt x="1647" y="702"/>
                  </a:lnTo>
                  <a:lnTo>
                    <a:pt x="1633" y="690"/>
                  </a:lnTo>
                  <a:lnTo>
                    <a:pt x="1629" y="687"/>
                  </a:lnTo>
                  <a:lnTo>
                    <a:pt x="1627" y="683"/>
                  </a:lnTo>
                  <a:lnTo>
                    <a:pt x="1625" y="679"/>
                  </a:lnTo>
                  <a:lnTo>
                    <a:pt x="1623" y="674"/>
                  </a:lnTo>
                  <a:lnTo>
                    <a:pt x="1622" y="670"/>
                  </a:lnTo>
                  <a:lnTo>
                    <a:pt x="1622" y="665"/>
                  </a:lnTo>
                  <a:lnTo>
                    <a:pt x="1622" y="660"/>
                  </a:lnTo>
                  <a:lnTo>
                    <a:pt x="1624" y="656"/>
                  </a:lnTo>
                  <a:lnTo>
                    <a:pt x="1628" y="651"/>
                  </a:lnTo>
                  <a:lnTo>
                    <a:pt x="1634" y="647"/>
                  </a:lnTo>
                  <a:lnTo>
                    <a:pt x="1640" y="645"/>
                  </a:lnTo>
                  <a:lnTo>
                    <a:pt x="1646" y="642"/>
                  </a:lnTo>
                  <a:lnTo>
                    <a:pt x="1651" y="640"/>
                  </a:lnTo>
                  <a:lnTo>
                    <a:pt x="1654" y="638"/>
                  </a:lnTo>
                  <a:lnTo>
                    <a:pt x="1655" y="636"/>
                  </a:lnTo>
                  <a:lnTo>
                    <a:pt x="1654" y="635"/>
                  </a:lnTo>
                  <a:lnTo>
                    <a:pt x="1652" y="632"/>
                  </a:lnTo>
                  <a:lnTo>
                    <a:pt x="1649" y="630"/>
                  </a:lnTo>
                  <a:lnTo>
                    <a:pt x="1643" y="627"/>
                  </a:lnTo>
                  <a:lnTo>
                    <a:pt x="1637" y="627"/>
                  </a:lnTo>
                  <a:lnTo>
                    <a:pt x="1630" y="627"/>
                  </a:lnTo>
                  <a:lnTo>
                    <a:pt x="1624" y="629"/>
                  </a:lnTo>
                  <a:lnTo>
                    <a:pt x="1616" y="634"/>
                  </a:lnTo>
                  <a:lnTo>
                    <a:pt x="1613" y="636"/>
                  </a:lnTo>
                  <a:lnTo>
                    <a:pt x="1608" y="637"/>
                  </a:lnTo>
                  <a:lnTo>
                    <a:pt x="1600" y="639"/>
                  </a:lnTo>
                  <a:lnTo>
                    <a:pt x="1597" y="639"/>
                  </a:lnTo>
                  <a:lnTo>
                    <a:pt x="1594" y="638"/>
                  </a:lnTo>
                  <a:lnTo>
                    <a:pt x="1594" y="637"/>
                  </a:lnTo>
                  <a:lnTo>
                    <a:pt x="1594" y="635"/>
                  </a:lnTo>
                  <a:lnTo>
                    <a:pt x="1594" y="634"/>
                  </a:lnTo>
                  <a:lnTo>
                    <a:pt x="1596" y="630"/>
                  </a:lnTo>
                  <a:lnTo>
                    <a:pt x="1599" y="626"/>
                  </a:lnTo>
                  <a:lnTo>
                    <a:pt x="1604" y="624"/>
                  </a:lnTo>
                  <a:lnTo>
                    <a:pt x="1610" y="622"/>
                  </a:lnTo>
                  <a:lnTo>
                    <a:pt x="1614" y="621"/>
                  </a:lnTo>
                  <a:lnTo>
                    <a:pt x="1617" y="620"/>
                  </a:lnTo>
                  <a:lnTo>
                    <a:pt x="1618" y="618"/>
                  </a:lnTo>
                  <a:lnTo>
                    <a:pt x="1618" y="616"/>
                  </a:lnTo>
                  <a:lnTo>
                    <a:pt x="1615" y="613"/>
                  </a:lnTo>
                  <a:lnTo>
                    <a:pt x="1608" y="609"/>
                  </a:lnTo>
                  <a:lnTo>
                    <a:pt x="1602" y="606"/>
                  </a:lnTo>
                  <a:lnTo>
                    <a:pt x="1596" y="604"/>
                  </a:lnTo>
                  <a:lnTo>
                    <a:pt x="1590" y="603"/>
                  </a:lnTo>
                  <a:lnTo>
                    <a:pt x="1583" y="602"/>
                  </a:lnTo>
                  <a:lnTo>
                    <a:pt x="1578" y="602"/>
                  </a:lnTo>
                  <a:lnTo>
                    <a:pt x="1574" y="603"/>
                  </a:lnTo>
                  <a:lnTo>
                    <a:pt x="1571" y="604"/>
                  </a:lnTo>
                  <a:lnTo>
                    <a:pt x="1568" y="604"/>
                  </a:lnTo>
                  <a:lnTo>
                    <a:pt x="1562" y="604"/>
                  </a:lnTo>
                  <a:lnTo>
                    <a:pt x="1556" y="602"/>
                  </a:lnTo>
                  <a:lnTo>
                    <a:pt x="1551" y="600"/>
                  </a:lnTo>
                  <a:lnTo>
                    <a:pt x="1546" y="597"/>
                  </a:lnTo>
                  <a:lnTo>
                    <a:pt x="1542" y="594"/>
                  </a:lnTo>
                  <a:lnTo>
                    <a:pt x="1542" y="593"/>
                  </a:lnTo>
                  <a:lnTo>
                    <a:pt x="1542" y="591"/>
                  </a:lnTo>
                  <a:lnTo>
                    <a:pt x="1544" y="588"/>
                  </a:lnTo>
                  <a:lnTo>
                    <a:pt x="1547" y="587"/>
                  </a:lnTo>
                  <a:lnTo>
                    <a:pt x="1557" y="582"/>
                  </a:lnTo>
                  <a:lnTo>
                    <a:pt x="1566" y="580"/>
                  </a:lnTo>
                  <a:lnTo>
                    <a:pt x="1568" y="579"/>
                  </a:lnTo>
                  <a:lnTo>
                    <a:pt x="1569" y="578"/>
                  </a:lnTo>
                  <a:lnTo>
                    <a:pt x="1569" y="576"/>
                  </a:lnTo>
                  <a:lnTo>
                    <a:pt x="1568" y="573"/>
                  </a:lnTo>
                  <a:lnTo>
                    <a:pt x="1562" y="562"/>
                  </a:lnTo>
                  <a:lnTo>
                    <a:pt x="1554" y="550"/>
                  </a:lnTo>
                  <a:lnTo>
                    <a:pt x="1552" y="548"/>
                  </a:lnTo>
                  <a:lnTo>
                    <a:pt x="1549" y="547"/>
                  </a:lnTo>
                  <a:lnTo>
                    <a:pt x="1547" y="545"/>
                  </a:lnTo>
                  <a:lnTo>
                    <a:pt x="1545" y="545"/>
                  </a:lnTo>
                  <a:lnTo>
                    <a:pt x="1542" y="547"/>
                  </a:lnTo>
                  <a:lnTo>
                    <a:pt x="1540" y="548"/>
                  </a:lnTo>
                  <a:lnTo>
                    <a:pt x="1539" y="551"/>
                  </a:lnTo>
                  <a:lnTo>
                    <a:pt x="1537" y="556"/>
                  </a:lnTo>
                  <a:lnTo>
                    <a:pt x="1535" y="564"/>
                  </a:lnTo>
                  <a:lnTo>
                    <a:pt x="1532" y="571"/>
                  </a:lnTo>
                  <a:lnTo>
                    <a:pt x="1529" y="574"/>
                  </a:lnTo>
                  <a:lnTo>
                    <a:pt x="1525" y="576"/>
                  </a:lnTo>
                  <a:lnTo>
                    <a:pt x="1522" y="575"/>
                  </a:lnTo>
                  <a:lnTo>
                    <a:pt x="1518" y="574"/>
                  </a:lnTo>
                  <a:lnTo>
                    <a:pt x="1515" y="573"/>
                  </a:lnTo>
                  <a:lnTo>
                    <a:pt x="1512" y="571"/>
                  </a:lnTo>
                  <a:lnTo>
                    <a:pt x="1508" y="566"/>
                  </a:lnTo>
                  <a:lnTo>
                    <a:pt x="1502" y="563"/>
                  </a:lnTo>
                  <a:lnTo>
                    <a:pt x="1498" y="561"/>
                  </a:lnTo>
                  <a:lnTo>
                    <a:pt x="1496" y="558"/>
                  </a:lnTo>
                  <a:lnTo>
                    <a:pt x="1494" y="555"/>
                  </a:lnTo>
                  <a:lnTo>
                    <a:pt x="1493" y="551"/>
                  </a:lnTo>
                  <a:lnTo>
                    <a:pt x="1492" y="543"/>
                  </a:lnTo>
                  <a:lnTo>
                    <a:pt x="1494" y="535"/>
                  </a:lnTo>
                  <a:lnTo>
                    <a:pt x="1494" y="532"/>
                  </a:lnTo>
                  <a:lnTo>
                    <a:pt x="1494" y="529"/>
                  </a:lnTo>
                  <a:lnTo>
                    <a:pt x="1493" y="526"/>
                  </a:lnTo>
                  <a:lnTo>
                    <a:pt x="1490" y="523"/>
                  </a:lnTo>
                  <a:lnTo>
                    <a:pt x="1476" y="511"/>
                  </a:lnTo>
                  <a:lnTo>
                    <a:pt x="1466" y="504"/>
                  </a:lnTo>
                  <a:lnTo>
                    <a:pt x="1464" y="503"/>
                  </a:lnTo>
                  <a:lnTo>
                    <a:pt x="1463" y="500"/>
                  </a:lnTo>
                  <a:lnTo>
                    <a:pt x="1463" y="499"/>
                  </a:lnTo>
                  <a:lnTo>
                    <a:pt x="1463" y="497"/>
                  </a:lnTo>
                  <a:lnTo>
                    <a:pt x="1465" y="493"/>
                  </a:lnTo>
                  <a:lnTo>
                    <a:pt x="1468" y="489"/>
                  </a:lnTo>
                  <a:lnTo>
                    <a:pt x="1470" y="487"/>
                  </a:lnTo>
                  <a:lnTo>
                    <a:pt x="1469" y="483"/>
                  </a:lnTo>
                  <a:lnTo>
                    <a:pt x="1468" y="478"/>
                  </a:lnTo>
                  <a:lnTo>
                    <a:pt x="1466" y="473"/>
                  </a:lnTo>
                  <a:lnTo>
                    <a:pt x="1462" y="469"/>
                  </a:lnTo>
                  <a:lnTo>
                    <a:pt x="1458" y="465"/>
                  </a:lnTo>
                  <a:lnTo>
                    <a:pt x="1453" y="462"/>
                  </a:lnTo>
                  <a:lnTo>
                    <a:pt x="1448" y="461"/>
                  </a:lnTo>
                  <a:lnTo>
                    <a:pt x="1432" y="461"/>
                  </a:lnTo>
                  <a:lnTo>
                    <a:pt x="1413" y="462"/>
                  </a:lnTo>
                  <a:lnTo>
                    <a:pt x="1404" y="463"/>
                  </a:lnTo>
                  <a:lnTo>
                    <a:pt x="1397" y="464"/>
                  </a:lnTo>
                  <a:lnTo>
                    <a:pt x="1395" y="465"/>
                  </a:lnTo>
                  <a:lnTo>
                    <a:pt x="1393" y="465"/>
                  </a:lnTo>
                  <a:lnTo>
                    <a:pt x="1393" y="466"/>
                  </a:lnTo>
                  <a:lnTo>
                    <a:pt x="1393" y="467"/>
                  </a:lnTo>
                  <a:lnTo>
                    <a:pt x="1401" y="473"/>
                  </a:lnTo>
                  <a:lnTo>
                    <a:pt x="1416" y="482"/>
                  </a:lnTo>
                  <a:lnTo>
                    <a:pt x="1430" y="489"/>
                  </a:lnTo>
                  <a:lnTo>
                    <a:pt x="1437" y="492"/>
                  </a:lnTo>
                  <a:lnTo>
                    <a:pt x="1441" y="492"/>
                  </a:lnTo>
                  <a:lnTo>
                    <a:pt x="1449" y="492"/>
                  </a:lnTo>
                  <a:lnTo>
                    <a:pt x="1453" y="493"/>
                  </a:lnTo>
                  <a:lnTo>
                    <a:pt x="1457" y="493"/>
                  </a:lnTo>
                  <a:lnTo>
                    <a:pt x="1458" y="494"/>
                  </a:lnTo>
                  <a:lnTo>
                    <a:pt x="1458" y="495"/>
                  </a:lnTo>
                  <a:lnTo>
                    <a:pt x="1458" y="496"/>
                  </a:lnTo>
                  <a:lnTo>
                    <a:pt x="1458" y="497"/>
                  </a:lnTo>
                  <a:lnTo>
                    <a:pt x="1452" y="501"/>
                  </a:lnTo>
                  <a:lnTo>
                    <a:pt x="1445" y="506"/>
                  </a:lnTo>
                  <a:lnTo>
                    <a:pt x="1442" y="509"/>
                  </a:lnTo>
                  <a:lnTo>
                    <a:pt x="1439" y="511"/>
                  </a:lnTo>
                  <a:lnTo>
                    <a:pt x="1437" y="514"/>
                  </a:lnTo>
                  <a:lnTo>
                    <a:pt x="1435" y="518"/>
                  </a:lnTo>
                  <a:lnTo>
                    <a:pt x="1432" y="528"/>
                  </a:lnTo>
                  <a:lnTo>
                    <a:pt x="1429" y="537"/>
                  </a:lnTo>
                  <a:lnTo>
                    <a:pt x="1426" y="540"/>
                  </a:lnTo>
                  <a:lnTo>
                    <a:pt x="1423" y="542"/>
                  </a:lnTo>
                  <a:lnTo>
                    <a:pt x="1422" y="542"/>
                  </a:lnTo>
                  <a:lnTo>
                    <a:pt x="1420" y="542"/>
                  </a:lnTo>
                  <a:lnTo>
                    <a:pt x="1418" y="541"/>
                  </a:lnTo>
                  <a:lnTo>
                    <a:pt x="1416" y="539"/>
                  </a:lnTo>
                  <a:lnTo>
                    <a:pt x="1408" y="531"/>
                  </a:lnTo>
                  <a:lnTo>
                    <a:pt x="1403" y="525"/>
                  </a:lnTo>
                  <a:lnTo>
                    <a:pt x="1402" y="523"/>
                  </a:lnTo>
                  <a:lnTo>
                    <a:pt x="1400" y="522"/>
                  </a:lnTo>
                  <a:lnTo>
                    <a:pt x="1399" y="523"/>
                  </a:lnTo>
                  <a:lnTo>
                    <a:pt x="1397" y="527"/>
                  </a:lnTo>
                  <a:lnTo>
                    <a:pt x="1393" y="535"/>
                  </a:lnTo>
                  <a:lnTo>
                    <a:pt x="1386" y="543"/>
                  </a:lnTo>
                  <a:lnTo>
                    <a:pt x="1383" y="547"/>
                  </a:lnTo>
                  <a:lnTo>
                    <a:pt x="1381" y="548"/>
                  </a:lnTo>
                  <a:lnTo>
                    <a:pt x="1380" y="549"/>
                  </a:lnTo>
                  <a:lnTo>
                    <a:pt x="1379" y="548"/>
                  </a:lnTo>
                  <a:lnTo>
                    <a:pt x="1378" y="548"/>
                  </a:lnTo>
                  <a:lnTo>
                    <a:pt x="1378" y="547"/>
                  </a:lnTo>
                  <a:lnTo>
                    <a:pt x="1380" y="538"/>
                  </a:lnTo>
                  <a:lnTo>
                    <a:pt x="1383" y="527"/>
                  </a:lnTo>
                  <a:lnTo>
                    <a:pt x="1385" y="520"/>
                  </a:lnTo>
                  <a:lnTo>
                    <a:pt x="1387" y="514"/>
                  </a:lnTo>
                  <a:lnTo>
                    <a:pt x="1387" y="509"/>
                  </a:lnTo>
                  <a:lnTo>
                    <a:pt x="1386" y="506"/>
                  </a:lnTo>
                  <a:lnTo>
                    <a:pt x="1382" y="494"/>
                  </a:lnTo>
                  <a:lnTo>
                    <a:pt x="1378" y="477"/>
                  </a:lnTo>
                  <a:lnTo>
                    <a:pt x="1375" y="469"/>
                  </a:lnTo>
                  <a:lnTo>
                    <a:pt x="1373" y="462"/>
                  </a:lnTo>
                  <a:lnTo>
                    <a:pt x="1371" y="457"/>
                  </a:lnTo>
                  <a:lnTo>
                    <a:pt x="1369" y="455"/>
                  </a:lnTo>
                  <a:lnTo>
                    <a:pt x="1364" y="456"/>
                  </a:lnTo>
                  <a:lnTo>
                    <a:pt x="1355" y="462"/>
                  </a:lnTo>
                  <a:lnTo>
                    <a:pt x="1342" y="470"/>
                  </a:lnTo>
                  <a:lnTo>
                    <a:pt x="1330" y="479"/>
                  </a:lnTo>
                  <a:lnTo>
                    <a:pt x="1316" y="489"/>
                  </a:lnTo>
                  <a:lnTo>
                    <a:pt x="1306" y="498"/>
                  </a:lnTo>
                  <a:lnTo>
                    <a:pt x="1303" y="501"/>
                  </a:lnTo>
                  <a:lnTo>
                    <a:pt x="1299" y="506"/>
                  </a:lnTo>
                  <a:lnTo>
                    <a:pt x="1298" y="508"/>
                  </a:lnTo>
                  <a:lnTo>
                    <a:pt x="1298" y="510"/>
                  </a:lnTo>
                  <a:lnTo>
                    <a:pt x="1305" y="517"/>
                  </a:lnTo>
                  <a:lnTo>
                    <a:pt x="1311" y="526"/>
                  </a:lnTo>
                  <a:lnTo>
                    <a:pt x="1314" y="529"/>
                  </a:lnTo>
                  <a:lnTo>
                    <a:pt x="1315" y="533"/>
                  </a:lnTo>
                  <a:lnTo>
                    <a:pt x="1316" y="535"/>
                  </a:lnTo>
                  <a:lnTo>
                    <a:pt x="1315" y="538"/>
                  </a:lnTo>
                  <a:lnTo>
                    <a:pt x="1312" y="541"/>
                  </a:lnTo>
                  <a:lnTo>
                    <a:pt x="1308" y="544"/>
                  </a:lnTo>
                  <a:lnTo>
                    <a:pt x="1306" y="548"/>
                  </a:lnTo>
                  <a:lnTo>
                    <a:pt x="1305" y="551"/>
                  </a:lnTo>
                  <a:lnTo>
                    <a:pt x="1307" y="554"/>
                  </a:lnTo>
                  <a:lnTo>
                    <a:pt x="1309" y="559"/>
                  </a:lnTo>
                  <a:lnTo>
                    <a:pt x="1311" y="564"/>
                  </a:lnTo>
                  <a:lnTo>
                    <a:pt x="1311" y="571"/>
                  </a:lnTo>
                  <a:lnTo>
                    <a:pt x="1310" y="578"/>
                  </a:lnTo>
                  <a:lnTo>
                    <a:pt x="1309" y="587"/>
                  </a:lnTo>
                  <a:lnTo>
                    <a:pt x="1307" y="595"/>
                  </a:lnTo>
                  <a:lnTo>
                    <a:pt x="1305" y="599"/>
                  </a:lnTo>
                  <a:lnTo>
                    <a:pt x="1299" y="597"/>
                  </a:lnTo>
                  <a:lnTo>
                    <a:pt x="1292" y="594"/>
                  </a:lnTo>
                  <a:lnTo>
                    <a:pt x="1288" y="591"/>
                  </a:lnTo>
                  <a:lnTo>
                    <a:pt x="1285" y="587"/>
                  </a:lnTo>
                  <a:lnTo>
                    <a:pt x="1283" y="584"/>
                  </a:lnTo>
                  <a:lnTo>
                    <a:pt x="1282" y="580"/>
                  </a:lnTo>
                  <a:lnTo>
                    <a:pt x="1279" y="571"/>
                  </a:lnTo>
                  <a:lnTo>
                    <a:pt x="1274" y="557"/>
                  </a:lnTo>
                  <a:lnTo>
                    <a:pt x="1269" y="544"/>
                  </a:lnTo>
                  <a:lnTo>
                    <a:pt x="1266" y="536"/>
                  </a:lnTo>
                  <a:lnTo>
                    <a:pt x="1266" y="534"/>
                  </a:lnTo>
                  <a:lnTo>
                    <a:pt x="1267" y="532"/>
                  </a:lnTo>
                  <a:lnTo>
                    <a:pt x="1268" y="530"/>
                  </a:lnTo>
                  <a:lnTo>
                    <a:pt x="1270" y="529"/>
                  </a:lnTo>
                  <a:lnTo>
                    <a:pt x="1273" y="526"/>
                  </a:lnTo>
                  <a:lnTo>
                    <a:pt x="1275" y="523"/>
                  </a:lnTo>
                  <a:lnTo>
                    <a:pt x="1273" y="520"/>
                  </a:lnTo>
                  <a:lnTo>
                    <a:pt x="1269" y="516"/>
                  </a:lnTo>
                  <a:lnTo>
                    <a:pt x="1267" y="513"/>
                  </a:lnTo>
                  <a:lnTo>
                    <a:pt x="1266" y="511"/>
                  </a:lnTo>
                  <a:lnTo>
                    <a:pt x="1266" y="509"/>
                  </a:lnTo>
                  <a:lnTo>
                    <a:pt x="1268" y="506"/>
                  </a:lnTo>
                  <a:lnTo>
                    <a:pt x="1279" y="495"/>
                  </a:lnTo>
                  <a:lnTo>
                    <a:pt x="1296" y="478"/>
                  </a:lnTo>
                  <a:lnTo>
                    <a:pt x="1305" y="469"/>
                  </a:lnTo>
                  <a:lnTo>
                    <a:pt x="1311" y="462"/>
                  </a:lnTo>
                  <a:lnTo>
                    <a:pt x="1313" y="459"/>
                  </a:lnTo>
                  <a:lnTo>
                    <a:pt x="1314" y="455"/>
                  </a:lnTo>
                  <a:lnTo>
                    <a:pt x="1315" y="454"/>
                  </a:lnTo>
                  <a:lnTo>
                    <a:pt x="1314" y="453"/>
                  </a:lnTo>
                  <a:lnTo>
                    <a:pt x="1310" y="453"/>
                  </a:lnTo>
                  <a:lnTo>
                    <a:pt x="1301" y="453"/>
                  </a:lnTo>
                  <a:lnTo>
                    <a:pt x="1290" y="455"/>
                  </a:lnTo>
                  <a:lnTo>
                    <a:pt x="1277" y="459"/>
                  </a:lnTo>
                  <a:lnTo>
                    <a:pt x="1265" y="462"/>
                  </a:lnTo>
                  <a:lnTo>
                    <a:pt x="1253" y="465"/>
                  </a:lnTo>
                  <a:lnTo>
                    <a:pt x="1245" y="469"/>
                  </a:lnTo>
                  <a:lnTo>
                    <a:pt x="1241" y="473"/>
                  </a:lnTo>
                  <a:lnTo>
                    <a:pt x="1232" y="485"/>
                  </a:lnTo>
                  <a:lnTo>
                    <a:pt x="1221" y="501"/>
                  </a:lnTo>
                  <a:lnTo>
                    <a:pt x="1215" y="510"/>
                  </a:lnTo>
                  <a:lnTo>
                    <a:pt x="1209" y="519"/>
                  </a:lnTo>
                  <a:lnTo>
                    <a:pt x="1205" y="529"/>
                  </a:lnTo>
                  <a:lnTo>
                    <a:pt x="1203" y="537"/>
                  </a:lnTo>
                  <a:lnTo>
                    <a:pt x="1202" y="553"/>
                  </a:lnTo>
                  <a:lnTo>
                    <a:pt x="1203" y="567"/>
                  </a:lnTo>
                  <a:lnTo>
                    <a:pt x="1203" y="574"/>
                  </a:lnTo>
                  <a:lnTo>
                    <a:pt x="1205" y="579"/>
                  </a:lnTo>
                  <a:lnTo>
                    <a:pt x="1207" y="583"/>
                  </a:lnTo>
                  <a:lnTo>
                    <a:pt x="1210" y="586"/>
                  </a:lnTo>
                  <a:lnTo>
                    <a:pt x="1223" y="590"/>
                  </a:lnTo>
                  <a:lnTo>
                    <a:pt x="1241" y="592"/>
                  </a:lnTo>
                  <a:lnTo>
                    <a:pt x="1248" y="593"/>
                  </a:lnTo>
                  <a:lnTo>
                    <a:pt x="1253" y="595"/>
                  </a:lnTo>
                  <a:lnTo>
                    <a:pt x="1255" y="595"/>
                  </a:lnTo>
                  <a:lnTo>
                    <a:pt x="1255" y="596"/>
                  </a:lnTo>
                  <a:lnTo>
                    <a:pt x="1255" y="597"/>
                  </a:lnTo>
                  <a:lnTo>
                    <a:pt x="1253" y="598"/>
                  </a:lnTo>
                  <a:lnTo>
                    <a:pt x="1241" y="602"/>
                  </a:lnTo>
                  <a:lnTo>
                    <a:pt x="1224" y="606"/>
                  </a:lnTo>
                  <a:lnTo>
                    <a:pt x="1217" y="607"/>
                  </a:lnTo>
                  <a:lnTo>
                    <a:pt x="1211" y="609"/>
                  </a:lnTo>
                  <a:lnTo>
                    <a:pt x="1210" y="610"/>
                  </a:lnTo>
                  <a:lnTo>
                    <a:pt x="1209" y="612"/>
                  </a:lnTo>
                  <a:lnTo>
                    <a:pt x="1209" y="612"/>
                  </a:lnTo>
                  <a:lnTo>
                    <a:pt x="1210" y="613"/>
                  </a:lnTo>
                  <a:lnTo>
                    <a:pt x="1227" y="620"/>
                  </a:lnTo>
                  <a:lnTo>
                    <a:pt x="1254" y="635"/>
                  </a:lnTo>
                  <a:lnTo>
                    <a:pt x="1279" y="648"/>
                  </a:lnTo>
                  <a:lnTo>
                    <a:pt x="1291" y="653"/>
                  </a:lnTo>
                  <a:lnTo>
                    <a:pt x="1290" y="659"/>
                  </a:lnTo>
                  <a:lnTo>
                    <a:pt x="1288" y="670"/>
                  </a:lnTo>
                  <a:lnTo>
                    <a:pt x="1287" y="676"/>
                  </a:lnTo>
                  <a:lnTo>
                    <a:pt x="1287" y="683"/>
                  </a:lnTo>
                  <a:lnTo>
                    <a:pt x="1287" y="687"/>
                  </a:lnTo>
                  <a:lnTo>
                    <a:pt x="1289" y="690"/>
                  </a:lnTo>
                  <a:lnTo>
                    <a:pt x="1292" y="692"/>
                  </a:lnTo>
                  <a:lnTo>
                    <a:pt x="1297" y="693"/>
                  </a:lnTo>
                  <a:lnTo>
                    <a:pt x="1298" y="694"/>
                  </a:lnTo>
                  <a:lnTo>
                    <a:pt x="1299" y="696"/>
                  </a:lnTo>
                  <a:lnTo>
                    <a:pt x="1300" y="697"/>
                  </a:lnTo>
                  <a:lnTo>
                    <a:pt x="1299" y="700"/>
                  </a:lnTo>
                  <a:lnTo>
                    <a:pt x="1287" y="707"/>
                  </a:lnTo>
                  <a:lnTo>
                    <a:pt x="1272" y="717"/>
                  </a:lnTo>
                  <a:lnTo>
                    <a:pt x="1271" y="725"/>
                  </a:lnTo>
                  <a:lnTo>
                    <a:pt x="1270" y="733"/>
                  </a:lnTo>
                  <a:lnTo>
                    <a:pt x="1270" y="737"/>
                  </a:lnTo>
                  <a:lnTo>
                    <a:pt x="1268" y="741"/>
                  </a:lnTo>
                  <a:lnTo>
                    <a:pt x="1267" y="746"/>
                  </a:lnTo>
                  <a:lnTo>
                    <a:pt x="1264" y="750"/>
                  </a:lnTo>
                  <a:lnTo>
                    <a:pt x="1254" y="763"/>
                  </a:lnTo>
                  <a:lnTo>
                    <a:pt x="1248" y="774"/>
                  </a:lnTo>
                  <a:lnTo>
                    <a:pt x="1245" y="774"/>
                  </a:lnTo>
                  <a:lnTo>
                    <a:pt x="1240" y="771"/>
                  </a:lnTo>
                  <a:lnTo>
                    <a:pt x="1235" y="767"/>
                  </a:lnTo>
                  <a:lnTo>
                    <a:pt x="1230" y="760"/>
                  </a:lnTo>
                  <a:lnTo>
                    <a:pt x="1227" y="754"/>
                  </a:lnTo>
                  <a:lnTo>
                    <a:pt x="1225" y="748"/>
                  </a:lnTo>
                  <a:lnTo>
                    <a:pt x="1224" y="744"/>
                  </a:lnTo>
                  <a:lnTo>
                    <a:pt x="1224" y="740"/>
                  </a:lnTo>
                  <a:lnTo>
                    <a:pt x="1225" y="738"/>
                  </a:lnTo>
                  <a:lnTo>
                    <a:pt x="1226" y="735"/>
                  </a:lnTo>
                  <a:lnTo>
                    <a:pt x="1232" y="726"/>
                  </a:lnTo>
                  <a:lnTo>
                    <a:pt x="1237" y="717"/>
                  </a:lnTo>
                  <a:lnTo>
                    <a:pt x="1238" y="709"/>
                  </a:lnTo>
                  <a:lnTo>
                    <a:pt x="1239" y="702"/>
                  </a:lnTo>
                  <a:lnTo>
                    <a:pt x="1237" y="697"/>
                  </a:lnTo>
                  <a:lnTo>
                    <a:pt x="1233" y="694"/>
                  </a:lnTo>
                  <a:lnTo>
                    <a:pt x="1228" y="691"/>
                  </a:lnTo>
                  <a:lnTo>
                    <a:pt x="1222" y="689"/>
                  </a:lnTo>
                  <a:lnTo>
                    <a:pt x="1210" y="686"/>
                  </a:lnTo>
                  <a:lnTo>
                    <a:pt x="1205" y="686"/>
                  </a:lnTo>
                  <a:lnTo>
                    <a:pt x="1203" y="694"/>
                  </a:lnTo>
                  <a:lnTo>
                    <a:pt x="1200" y="712"/>
                  </a:lnTo>
                  <a:lnTo>
                    <a:pt x="1199" y="720"/>
                  </a:lnTo>
                  <a:lnTo>
                    <a:pt x="1197" y="728"/>
                  </a:lnTo>
                  <a:lnTo>
                    <a:pt x="1196" y="730"/>
                  </a:lnTo>
                  <a:lnTo>
                    <a:pt x="1194" y="732"/>
                  </a:lnTo>
                  <a:lnTo>
                    <a:pt x="1193" y="733"/>
                  </a:lnTo>
                  <a:lnTo>
                    <a:pt x="1190" y="732"/>
                  </a:lnTo>
                  <a:lnTo>
                    <a:pt x="1185" y="731"/>
                  </a:lnTo>
                  <a:lnTo>
                    <a:pt x="1181" y="729"/>
                  </a:lnTo>
                  <a:lnTo>
                    <a:pt x="1179" y="728"/>
                  </a:lnTo>
                  <a:lnTo>
                    <a:pt x="1179" y="726"/>
                  </a:lnTo>
                  <a:lnTo>
                    <a:pt x="1179" y="723"/>
                  </a:lnTo>
                  <a:lnTo>
                    <a:pt x="1179" y="718"/>
                  </a:lnTo>
                  <a:lnTo>
                    <a:pt x="1182" y="707"/>
                  </a:lnTo>
                  <a:lnTo>
                    <a:pt x="1184" y="696"/>
                  </a:lnTo>
                  <a:lnTo>
                    <a:pt x="1185" y="691"/>
                  </a:lnTo>
                  <a:lnTo>
                    <a:pt x="1184" y="686"/>
                  </a:lnTo>
                  <a:lnTo>
                    <a:pt x="1183" y="682"/>
                  </a:lnTo>
                  <a:lnTo>
                    <a:pt x="1181" y="679"/>
                  </a:lnTo>
                  <a:lnTo>
                    <a:pt x="1177" y="676"/>
                  </a:lnTo>
                  <a:lnTo>
                    <a:pt x="1171" y="674"/>
                  </a:lnTo>
                  <a:lnTo>
                    <a:pt x="1163" y="673"/>
                  </a:lnTo>
                  <a:lnTo>
                    <a:pt x="1156" y="671"/>
                  </a:lnTo>
                  <a:lnTo>
                    <a:pt x="1150" y="669"/>
                  </a:lnTo>
                  <a:lnTo>
                    <a:pt x="1145" y="667"/>
                  </a:lnTo>
                  <a:lnTo>
                    <a:pt x="1144" y="665"/>
                  </a:lnTo>
                  <a:lnTo>
                    <a:pt x="1143" y="664"/>
                  </a:lnTo>
                  <a:lnTo>
                    <a:pt x="1143" y="661"/>
                  </a:lnTo>
                  <a:lnTo>
                    <a:pt x="1144" y="659"/>
                  </a:lnTo>
                  <a:lnTo>
                    <a:pt x="1151" y="648"/>
                  </a:lnTo>
                  <a:lnTo>
                    <a:pt x="1154" y="640"/>
                  </a:lnTo>
                  <a:lnTo>
                    <a:pt x="1156" y="635"/>
                  </a:lnTo>
                  <a:lnTo>
                    <a:pt x="1155" y="629"/>
                  </a:lnTo>
                  <a:lnTo>
                    <a:pt x="1145" y="621"/>
                  </a:lnTo>
                  <a:lnTo>
                    <a:pt x="1131" y="603"/>
                  </a:lnTo>
                  <a:lnTo>
                    <a:pt x="1128" y="599"/>
                  </a:lnTo>
                  <a:lnTo>
                    <a:pt x="1124" y="594"/>
                  </a:lnTo>
                  <a:lnTo>
                    <a:pt x="1122" y="588"/>
                  </a:lnTo>
                  <a:lnTo>
                    <a:pt x="1121" y="583"/>
                  </a:lnTo>
                  <a:lnTo>
                    <a:pt x="1120" y="578"/>
                  </a:lnTo>
                  <a:lnTo>
                    <a:pt x="1120" y="574"/>
                  </a:lnTo>
                  <a:lnTo>
                    <a:pt x="1122" y="569"/>
                  </a:lnTo>
                  <a:lnTo>
                    <a:pt x="1125" y="564"/>
                  </a:lnTo>
                  <a:lnTo>
                    <a:pt x="1138" y="552"/>
                  </a:lnTo>
                  <a:lnTo>
                    <a:pt x="1145" y="545"/>
                  </a:lnTo>
                  <a:lnTo>
                    <a:pt x="1147" y="542"/>
                  </a:lnTo>
                  <a:lnTo>
                    <a:pt x="1149" y="540"/>
                  </a:lnTo>
                  <a:lnTo>
                    <a:pt x="1147" y="538"/>
                  </a:lnTo>
                  <a:lnTo>
                    <a:pt x="1145" y="535"/>
                  </a:lnTo>
                  <a:lnTo>
                    <a:pt x="1136" y="530"/>
                  </a:lnTo>
                  <a:lnTo>
                    <a:pt x="1124" y="526"/>
                  </a:lnTo>
                  <a:lnTo>
                    <a:pt x="1122" y="525"/>
                  </a:lnTo>
                  <a:lnTo>
                    <a:pt x="1121" y="523"/>
                  </a:lnTo>
                  <a:lnTo>
                    <a:pt x="1121" y="522"/>
                  </a:lnTo>
                  <a:lnTo>
                    <a:pt x="1121" y="521"/>
                  </a:lnTo>
                  <a:lnTo>
                    <a:pt x="1125" y="519"/>
                  </a:lnTo>
                  <a:lnTo>
                    <a:pt x="1135" y="516"/>
                  </a:lnTo>
                  <a:lnTo>
                    <a:pt x="1145" y="514"/>
                  </a:lnTo>
                  <a:lnTo>
                    <a:pt x="1152" y="513"/>
                  </a:lnTo>
                  <a:lnTo>
                    <a:pt x="1156" y="513"/>
                  </a:lnTo>
                  <a:lnTo>
                    <a:pt x="1158" y="514"/>
                  </a:lnTo>
                  <a:lnTo>
                    <a:pt x="1161" y="518"/>
                  </a:lnTo>
                  <a:lnTo>
                    <a:pt x="1166" y="522"/>
                  </a:lnTo>
                  <a:lnTo>
                    <a:pt x="1171" y="523"/>
                  </a:lnTo>
                  <a:lnTo>
                    <a:pt x="1174" y="523"/>
                  </a:lnTo>
                  <a:lnTo>
                    <a:pt x="1176" y="521"/>
                  </a:lnTo>
                  <a:lnTo>
                    <a:pt x="1178" y="518"/>
                  </a:lnTo>
                  <a:lnTo>
                    <a:pt x="1181" y="511"/>
                  </a:lnTo>
                  <a:lnTo>
                    <a:pt x="1183" y="505"/>
                  </a:lnTo>
                  <a:lnTo>
                    <a:pt x="1185" y="498"/>
                  </a:lnTo>
                  <a:lnTo>
                    <a:pt x="1190" y="487"/>
                  </a:lnTo>
                  <a:lnTo>
                    <a:pt x="1197" y="475"/>
                  </a:lnTo>
                  <a:lnTo>
                    <a:pt x="1202" y="469"/>
                  </a:lnTo>
                  <a:lnTo>
                    <a:pt x="1208" y="465"/>
                  </a:lnTo>
                  <a:lnTo>
                    <a:pt x="1218" y="459"/>
                  </a:lnTo>
                  <a:lnTo>
                    <a:pt x="1222" y="454"/>
                  </a:lnTo>
                  <a:lnTo>
                    <a:pt x="1224" y="451"/>
                  </a:lnTo>
                  <a:lnTo>
                    <a:pt x="1225" y="449"/>
                  </a:lnTo>
                  <a:lnTo>
                    <a:pt x="1225" y="448"/>
                  </a:lnTo>
                  <a:lnTo>
                    <a:pt x="1224" y="446"/>
                  </a:lnTo>
                  <a:lnTo>
                    <a:pt x="1223" y="445"/>
                  </a:lnTo>
                  <a:lnTo>
                    <a:pt x="1219" y="443"/>
                  </a:lnTo>
                  <a:lnTo>
                    <a:pt x="1213" y="443"/>
                  </a:lnTo>
                  <a:lnTo>
                    <a:pt x="1207" y="444"/>
                  </a:lnTo>
                  <a:lnTo>
                    <a:pt x="1201" y="445"/>
                  </a:lnTo>
                  <a:lnTo>
                    <a:pt x="1188" y="448"/>
                  </a:lnTo>
                  <a:lnTo>
                    <a:pt x="1179" y="448"/>
                  </a:lnTo>
                  <a:lnTo>
                    <a:pt x="1172" y="448"/>
                  </a:lnTo>
                  <a:lnTo>
                    <a:pt x="1165" y="448"/>
                  </a:lnTo>
                  <a:lnTo>
                    <a:pt x="1160" y="449"/>
                  </a:lnTo>
                  <a:lnTo>
                    <a:pt x="1155" y="451"/>
                  </a:lnTo>
                  <a:lnTo>
                    <a:pt x="1147" y="454"/>
                  </a:lnTo>
                  <a:lnTo>
                    <a:pt x="1135" y="460"/>
                  </a:lnTo>
                  <a:lnTo>
                    <a:pt x="1130" y="463"/>
                  </a:lnTo>
                  <a:lnTo>
                    <a:pt x="1123" y="466"/>
                  </a:lnTo>
                  <a:lnTo>
                    <a:pt x="1119" y="470"/>
                  </a:lnTo>
                  <a:lnTo>
                    <a:pt x="1117" y="473"/>
                  </a:lnTo>
                  <a:lnTo>
                    <a:pt x="1120" y="482"/>
                  </a:lnTo>
                  <a:lnTo>
                    <a:pt x="1121" y="492"/>
                  </a:lnTo>
                  <a:lnTo>
                    <a:pt x="1118" y="501"/>
                  </a:lnTo>
                  <a:lnTo>
                    <a:pt x="1115" y="511"/>
                  </a:lnTo>
                  <a:lnTo>
                    <a:pt x="1114" y="519"/>
                  </a:lnTo>
                  <a:lnTo>
                    <a:pt x="1113" y="525"/>
                  </a:lnTo>
                  <a:lnTo>
                    <a:pt x="1114" y="530"/>
                  </a:lnTo>
                  <a:lnTo>
                    <a:pt x="1117" y="537"/>
                  </a:lnTo>
                  <a:lnTo>
                    <a:pt x="1118" y="541"/>
                  </a:lnTo>
                  <a:lnTo>
                    <a:pt x="1118" y="545"/>
                  </a:lnTo>
                  <a:lnTo>
                    <a:pt x="1118" y="550"/>
                  </a:lnTo>
                  <a:lnTo>
                    <a:pt x="1116" y="555"/>
                  </a:lnTo>
                  <a:lnTo>
                    <a:pt x="1106" y="572"/>
                  </a:lnTo>
                  <a:lnTo>
                    <a:pt x="1098" y="583"/>
                  </a:lnTo>
                  <a:lnTo>
                    <a:pt x="1094" y="586"/>
                  </a:lnTo>
                  <a:lnTo>
                    <a:pt x="1089" y="590"/>
                  </a:lnTo>
                  <a:lnTo>
                    <a:pt x="1087" y="592"/>
                  </a:lnTo>
                  <a:lnTo>
                    <a:pt x="1084" y="594"/>
                  </a:lnTo>
                  <a:lnTo>
                    <a:pt x="1083" y="598"/>
                  </a:lnTo>
                  <a:lnTo>
                    <a:pt x="1083" y="603"/>
                  </a:lnTo>
                  <a:lnTo>
                    <a:pt x="1084" y="607"/>
                  </a:lnTo>
                  <a:lnTo>
                    <a:pt x="1085" y="610"/>
                  </a:lnTo>
                  <a:lnTo>
                    <a:pt x="1087" y="614"/>
                  </a:lnTo>
                  <a:lnTo>
                    <a:pt x="1088" y="616"/>
                  </a:lnTo>
                  <a:lnTo>
                    <a:pt x="1090" y="618"/>
                  </a:lnTo>
                  <a:lnTo>
                    <a:pt x="1090" y="620"/>
                  </a:lnTo>
                  <a:lnTo>
                    <a:pt x="1090" y="623"/>
                  </a:lnTo>
                  <a:lnTo>
                    <a:pt x="1088" y="627"/>
                  </a:lnTo>
                  <a:lnTo>
                    <a:pt x="1083" y="638"/>
                  </a:lnTo>
                  <a:lnTo>
                    <a:pt x="1080" y="645"/>
                  </a:lnTo>
                  <a:lnTo>
                    <a:pt x="1081" y="648"/>
                  </a:lnTo>
                  <a:lnTo>
                    <a:pt x="1087" y="652"/>
                  </a:lnTo>
                  <a:lnTo>
                    <a:pt x="1094" y="658"/>
                  </a:lnTo>
                  <a:lnTo>
                    <a:pt x="1102" y="663"/>
                  </a:lnTo>
                  <a:lnTo>
                    <a:pt x="1111" y="668"/>
                  </a:lnTo>
                  <a:lnTo>
                    <a:pt x="1118" y="673"/>
                  </a:lnTo>
                  <a:lnTo>
                    <a:pt x="1121" y="675"/>
                  </a:lnTo>
                  <a:lnTo>
                    <a:pt x="1122" y="678"/>
                  </a:lnTo>
                  <a:lnTo>
                    <a:pt x="1123" y="680"/>
                  </a:lnTo>
                  <a:lnTo>
                    <a:pt x="1123" y="681"/>
                  </a:lnTo>
                  <a:lnTo>
                    <a:pt x="1121" y="692"/>
                  </a:lnTo>
                  <a:lnTo>
                    <a:pt x="1119" y="709"/>
                  </a:lnTo>
                  <a:lnTo>
                    <a:pt x="1118" y="718"/>
                  </a:lnTo>
                  <a:lnTo>
                    <a:pt x="1116" y="727"/>
                  </a:lnTo>
                  <a:lnTo>
                    <a:pt x="1113" y="734"/>
                  </a:lnTo>
                  <a:lnTo>
                    <a:pt x="1110" y="739"/>
                  </a:lnTo>
                  <a:lnTo>
                    <a:pt x="1100" y="747"/>
                  </a:lnTo>
                  <a:lnTo>
                    <a:pt x="1090" y="753"/>
                  </a:lnTo>
                  <a:lnTo>
                    <a:pt x="1086" y="756"/>
                  </a:lnTo>
                  <a:lnTo>
                    <a:pt x="1083" y="759"/>
                  </a:lnTo>
                  <a:lnTo>
                    <a:pt x="1080" y="762"/>
                  </a:lnTo>
                  <a:lnTo>
                    <a:pt x="1080" y="764"/>
                  </a:lnTo>
                  <a:lnTo>
                    <a:pt x="1083" y="771"/>
                  </a:lnTo>
                  <a:lnTo>
                    <a:pt x="1087" y="778"/>
                  </a:lnTo>
                  <a:lnTo>
                    <a:pt x="1088" y="781"/>
                  </a:lnTo>
                  <a:lnTo>
                    <a:pt x="1088" y="783"/>
                  </a:lnTo>
                  <a:lnTo>
                    <a:pt x="1087" y="785"/>
                  </a:lnTo>
                  <a:lnTo>
                    <a:pt x="1085" y="786"/>
                  </a:lnTo>
                  <a:lnTo>
                    <a:pt x="1080" y="786"/>
                  </a:lnTo>
                  <a:lnTo>
                    <a:pt x="1076" y="785"/>
                  </a:lnTo>
                  <a:lnTo>
                    <a:pt x="1072" y="783"/>
                  </a:lnTo>
                  <a:lnTo>
                    <a:pt x="1069" y="781"/>
                  </a:lnTo>
                  <a:lnTo>
                    <a:pt x="1066" y="779"/>
                  </a:lnTo>
                  <a:lnTo>
                    <a:pt x="1064" y="776"/>
                  </a:lnTo>
                  <a:lnTo>
                    <a:pt x="1062" y="774"/>
                  </a:lnTo>
                  <a:lnTo>
                    <a:pt x="1062" y="771"/>
                  </a:lnTo>
                  <a:lnTo>
                    <a:pt x="1064" y="764"/>
                  </a:lnTo>
                  <a:lnTo>
                    <a:pt x="1068" y="755"/>
                  </a:lnTo>
                  <a:lnTo>
                    <a:pt x="1070" y="751"/>
                  </a:lnTo>
                  <a:lnTo>
                    <a:pt x="1070" y="747"/>
                  </a:lnTo>
                  <a:lnTo>
                    <a:pt x="1070" y="745"/>
                  </a:lnTo>
                  <a:lnTo>
                    <a:pt x="1069" y="742"/>
                  </a:lnTo>
                  <a:lnTo>
                    <a:pt x="1067" y="740"/>
                  </a:lnTo>
                  <a:lnTo>
                    <a:pt x="1065" y="739"/>
                  </a:lnTo>
                  <a:lnTo>
                    <a:pt x="1062" y="737"/>
                  </a:lnTo>
                  <a:lnTo>
                    <a:pt x="1058" y="734"/>
                  </a:lnTo>
                  <a:lnTo>
                    <a:pt x="1057" y="732"/>
                  </a:lnTo>
                  <a:lnTo>
                    <a:pt x="1057" y="730"/>
                  </a:lnTo>
                  <a:lnTo>
                    <a:pt x="1057" y="728"/>
                  </a:lnTo>
                  <a:lnTo>
                    <a:pt x="1059" y="727"/>
                  </a:lnTo>
                  <a:lnTo>
                    <a:pt x="1062" y="726"/>
                  </a:lnTo>
                  <a:lnTo>
                    <a:pt x="1065" y="726"/>
                  </a:lnTo>
                  <a:lnTo>
                    <a:pt x="1068" y="725"/>
                  </a:lnTo>
                  <a:lnTo>
                    <a:pt x="1071" y="723"/>
                  </a:lnTo>
                  <a:lnTo>
                    <a:pt x="1074" y="719"/>
                  </a:lnTo>
                  <a:lnTo>
                    <a:pt x="1077" y="715"/>
                  </a:lnTo>
                  <a:lnTo>
                    <a:pt x="1079" y="710"/>
                  </a:lnTo>
                  <a:lnTo>
                    <a:pt x="1081" y="705"/>
                  </a:lnTo>
                  <a:lnTo>
                    <a:pt x="1083" y="700"/>
                  </a:lnTo>
                  <a:lnTo>
                    <a:pt x="1084" y="694"/>
                  </a:lnTo>
                  <a:lnTo>
                    <a:pt x="1084" y="688"/>
                  </a:lnTo>
                  <a:lnTo>
                    <a:pt x="1083" y="682"/>
                  </a:lnTo>
                  <a:lnTo>
                    <a:pt x="1079" y="674"/>
                  </a:lnTo>
                  <a:lnTo>
                    <a:pt x="1076" y="668"/>
                  </a:lnTo>
                  <a:lnTo>
                    <a:pt x="1071" y="664"/>
                  </a:lnTo>
                  <a:lnTo>
                    <a:pt x="1067" y="661"/>
                  </a:lnTo>
                  <a:lnTo>
                    <a:pt x="1064" y="661"/>
                  </a:lnTo>
                  <a:lnTo>
                    <a:pt x="1062" y="661"/>
                  </a:lnTo>
                  <a:lnTo>
                    <a:pt x="1058" y="662"/>
                  </a:lnTo>
                  <a:lnTo>
                    <a:pt x="1056" y="664"/>
                  </a:lnTo>
                  <a:lnTo>
                    <a:pt x="1043" y="679"/>
                  </a:lnTo>
                  <a:lnTo>
                    <a:pt x="1040" y="681"/>
                  </a:lnTo>
                  <a:lnTo>
                    <a:pt x="1033" y="684"/>
                  </a:lnTo>
                  <a:lnTo>
                    <a:pt x="1020" y="691"/>
                  </a:lnTo>
                  <a:lnTo>
                    <a:pt x="1014" y="696"/>
                  </a:lnTo>
                  <a:lnTo>
                    <a:pt x="1010" y="703"/>
                  </a:lnTo>
                  <a:lnTo>
                    <a:pt x="1009" y="706"/>
                  </a:lnTo>
                  <a:lnTo>
                    <a:pt x="1010" y="708"/>
                  </a:lnTo>
                  <a:lnTo>
                    <a:pt x="1011" y="711"/>
                  </a:lnTo>
                  <a:lnTo>
                    <a:pt x="1014" y="714"/>
                  </a:lnTo>
                  <a:lnTo>
                    <a:pt x="1022" y="719"/>
                  </a:lnTo>
                  <a:lnTo>
                    <a:pt x="1027" y="724"/>
                  </a:lnTo>
                  <a:lnTo>
                    <a:pt x="1032" y="725"/>
                  </a:lnTo>
                  <a:lnTo>
                    <a:pt x="1036" y="726"/>
                  </a:lnTo>
                  <a:lnTo>
                    <a:pt x="1042" y="726"/>
                  </a:lnTo>
                  <a:lnTo>
                    <a:pt x="1043" y="727"/>
                  </a:lnTo>
                  <a:lnTo>
                    <a:pt x="1045" y="729"/>
                  </a:lnTo>
                  <a:lnTo>
                    <a:pt x="1050" y="729"/>
                  </a:lnTo>
                  <a:lnTo>
                    <a:pt x="1052" y="730"/>
                  </a:lnTo>
                  <a:lnTo>
                    <a:pt x="1053" y="730"/>
                  </a:lnTo>
                  <a:lnTo>
                    <a:pt x="1053" y="732"/>
                  </a:lnTo>
                  <a:lnTo>
                    <a:pt x="1051" y="733"/>
                  </a:lnTo>
                  <a:lnTo>
                    <a:pt x="1043" y="738"/>
                  </a:lnTo>
                  <a:lnTo>
                    <a:pt x="1033" y="742"/>
                  </a:lnTo>
                  <a:lnTo>
                    <a:pt x="1029" y="745"/>
                  </a:lnTo>
                  <a:lnTo>
                    <a:pt x="1025" y="747"/>
                  </a:lnTo>
                  <a:lnTo>
                    <a:pt x="1024" y="749"/>
                  </a:lnTo>
                  <a:lnTo>
                    <a:pt x="1023" y="751"/>
                  </a:lnTo>
                  <a:lnTo>
                    <a:pt x="1024" y="757"/>
                  </a:lnTo>
                  <a:lnTo>
                    <a:pt x="1025" y="764"/>
                  </a:lnTo>
                  <a:lnTo>
                    <a:pt x="1025" y="767"/>
                  </a:lnTo>
                  <a:lnTo>
                    <a:pt x="1025" y="769"/>
                  </a:lnTo>
                  <a:lnTo>
                    <a:pt x="1024" y="770"/>
                  </a:lnTo>
                  <a:lnTo>
                    <a:pt x="1022" y="770"/>
                  </a:lnTo>
                  <a:lnTo>
                    <a:pt x="1006" y="769"/>
                  </a:lnTo>
                  <a:lnTo>
                    <a:pt x="980" y="769"/>
                  </a:lnTo>
                  <a:lnTo>
                    <a:pt x="965" y="769"/>
                  </a:lnTo>
                  <a:lnTo>
                    <a:pt x="953" y="768"/>
                  </a:lnTo>
                  <a:lnTo>
                    <a:pt x="942" y="767"/>
                  </a:lnTo>
                  <a:lnTo>
                    <a:pt x="935" y="763"/>
                  </a:lnTo>
                  <a:lnTo>
                    <a:pt x="924" y="755"/>
                  </a:lnTo>
                  <a:lnTo>
                    <a:pt x="911" y="747"/>
                  </a:lnTo>
                  <a:lnTo>
                    <a:pt x="903" y="745"/>
                  </a:lnTo>
                  <a:lnTo>
                    <a:pt x="897" y="744"/>
                  </a:lnTo>
                  <a:lnTo>
                    <a:pt x="894" y="744"/>
                  </a:lnTo>
                  <a:lnTo>
                    <a:pt x="891" y="745"/>
                  </a:lnTo>
                  <a:lnTo>
                    <a:pt x="889" y="746"/>
                  </a:lnTo>
                  <a:lnTo>
                    <a:pt x="888" y="749"/>
                  </a:lnTo>
                  <a:lnTo>
                    <a:pt x="879" y="759"/>
                  </a:lnTo>
                  <a:lnTo>
                    <a:pt x="871" y="769"/>
                  </a:lnTo>
                  <a:lnTo>
                    <a:pt x="867" y="773"/>
                  </a:lnTo>
                  <a:lnTo>
                    <a:pt x="865" y="777"/>
                  </a:lnTo>
                  <a:lnTo>
                    <a:pt x="864" y="780"/>
                  </a:lnTo>
                  <a:lnTo>
                    <a:pt x="864" y="783"/>
                  </a:lnTo>
                  <a:lnTo>
                    <a:pt x="868" y="790"/>
                  </a:lnTo>
                  <a:lnTo>
                    <a:pt x="873" y="798"/>
                  </a:lnTo>
                  <a:lnTo>
                    <a:pt x="874" y="802"/>
                  </a:lnTo>
                  <a:lnTo>
                    <a:pt x="876" y="805"/>
                  </a:lnTo>
                  <a:lnTo>
                    <a:pt x="876" y="808"/>
                  </a:lnTo>
                  <a:lnTo>
                    <a:pt x="875" y="811"/>
                  </a:lnTo>
                  <a:lnTo>
                    <a:pt x="870" y="818"/>
                  </a:lnTo>
                  <a:lnTo>
                    <a:pt x="865" y="828"/>
                  </a:lnTo>
                  <a:lnTo>
                    <a:pt x="861" y="833"/>
                  </a:lnTo>
                  <a:lnTo>
                    <a:pt x="858" y="836"/>
                  </a:lnTo>
                  <a:lnTo>
                    <a:pt x="857" y="836"/>
                  </a:lnTo>
                  <a:lnTo>
                    <a:pt x="856" y="836"/>
                  </a:lnTo>
                  <a:lnTo>
                    <a:pt x="854" y="835"/>
                  </a:lnTo>
                  <a:lnTo>
                    <a:pt x="853" y="833"/>
                  </a:lnTo>
                  <a:lnTo>
                    <a:pt x="849" y="822"/>
                  </a:lnTo>
                  <a:lnTo>
                    <a:pt x="843" y="810"/>
                  </a:lnTo>
                  <a:lnTo>
                    <a:pt x="839" y="804"/>
                  </a:lnTo>
                  <a:lnTo>
                    <a:pt x="836" y="798"/>
                  </a:lnTo>
                  <a:lnTo>
                    <a:pt x="833" y="794"/>
                  </a:lnTo>
                  <a:lnTo>
                    <a:pt x="829" y="790"/>
                  </a:lnTo>
                  <a:lnTo>
                    <a:pt x="816" y="784"/>
                  </a:lnTo>
                  <a:lnTo>
                    <a:pt x="811" y="783"/>
                  </a:lnTo>
                  <a:lnTo>
                    <a:pt x="803" y="789"/>
                  </a:lnTo>
                  <a:lnTo>
                    <a:pt x="794" y="794"/>
                  </a:lnTo>
                  <a:lnTo>
                    <a:pt x="785" y="795"/>
                  </a:lnTo>
                  <a:lnTo>
                    <a:pt x="765" y="797"/>
                  </a:lnTo>
                  <a:lnTo>
                    <a:pt x="744" y="798"/>
                  </a:lnTo>
                  <a:lnTo>
                    <a:pt x="734" y="799"/>
                  </a:lnTo>
                  <a:lnTo>
                    <a:pt x="730" y="797"/>
                  </a:lnTo>
                  <a:lnTo>
                    <a:pt x="728" y="795"/>
                  </a:lnTo>
                  <a:lnTo>
                    <a:pt x="728" y="793"/>
                  </a:lnTo>
                  <a:lnTo>
                    <a:pt x="729" y="792"/>
                  </a:lnTo>
                  <a:lnTo>
                    <a:pt x="730" y="790"/>
                  </a:lnTo>
                  <a:lnTo>
                    <a:pt x="734" y="788"/>
                  </a:lnTo>
                  <a:lnTo>
                    <a:pt x="741" y="782"/>
                  </a:lnTo>
                  <a:lnTo>
                    <a:pt x="747" y="776"/>
                  </a:lnTo>
                  <a:lnTo>
                    <a:pt x="750" y="771"/>
                  </a:lnTo>
                  <a:lnTo>
                    <a:pt x="751" y="769"/>
                  </a:lnTo>
                  <a:lnTo>
                    <a:pt x="750" y="766"/>
                  </a:lnTo>
                  <a:lnTo>
                    <a:pt x="747" y="758"/>
                  </a:lnTo>
                  <a:lnTo>
                    <a:pt x="744" y="754"/>
                  </a:lnTo>
                  <a:lnTo>
                    <a:pt x="740" y="751"/>
                  </a:lnTo>
                  <a:lnTo>
                    <a:pt x="736" y="749"/>
                  </a:lnTo>
                  <a:lnTo>
                    <a:pt x="729" y="748"/>
                  </a:lnTo>
                  <a:lnTo>
                    <a:pt x="719" y="750"/>
                  </a:lnTo>
                  <a:lnTo>
                    <a:pt x="710" y="753"/>
                  </a:lnTo>
                  <a:lnTo>
                    <a:pt x="706" y="754"/>
                  </a:lnTo>
                  <a:lnTo>
                    <a:pt x="702" y="755"/>
                  </a:lnTo>
                  <a:lnTo>
                    <a:pt x="700" y="754"/>
                  </a:lnTo>
                  <a:lnTo>
                    <a:pt x="697" y="753"/>
                  </a:lnTo>
                  <a:lnTo>
                    <a:pt x="684" y="746"/>
                  </a:lnTo>
                  <a:lnTo>
                    <a:pt x="663" y="736"/>
                  </a:lnTo>
                  <a:lnTo>
                    <a:pt x="652" y="732"/>
                  </a:lnTo>
                  <a:lnTo>
                    <a:pt x="640" y="730"/>
                  </a:lnTo>
                  <a:lnTo>
                    <a:pt x="636" y="730"/>
                  </a:lnTo>
                  <a:lnTo>
                    <a:pt x="632" y="730"/>
                  </a:lnTo>
                  <a:lnTo>
                    <a:pt x="629" y="730"/>
                  </a:lnTo>
                  <a:lnTo>
                    <a:pt x="627" y="732"/>
                  </a:lnTo>
                  <a:lnTo>
                    <a:pt x="620" y="740"/>
                  </a:lnTo>
                  <a:lnTo>
                    <a:pt x="615" y="747"/>
                  </a:lnTo>
                  <a:lnTo>
                    <a:pt x="612" y="749"/>
                  </a:lnTo>
                  <a:lnTo>
                    <a:pt x="611" y="751"/>
                  </a:lnTo>
                  <a:lnTo>
                    <a:pt x="609" y="751"/>
                  </a:lnTo>
                  <a:lnTo>
                    <a:pt x="607" y="750"/>
                  </a:lnTo>
                  <a:lnTo>
                    <a:pt x="605" y="742"/>
                  </a:lnTo>
                  <a:lnTo>
                    <a:pt x="603" y="730"/>
                  </a:lnTo>
                  <a:lnTo>
                    <a:pt x="603" y="725"/>
                  </a:lnTo>
                  <a:lnTo>
                    <a:pt x="602" y="719"/>
                  </a:lnTo>
                  <a:lnTo>
                    <a:pt x="601" y="718"/>
                  </a:lnTo>
                  <a:lnTo>
                    <a:pt x="600" y="718"/>
                  </a:lnTo>
                  <a:lnTo>
                    <a:pt x="598" y="718"/>
                  </a:lnTo>
                  <a:lnTo>
                    <a:pt x="597" y="719"/>
                  </a:lnTo>
                  <a:lnTo>
                    <a:pt x="591" y="730"/>
                  </a:lnTo>
                  <a:lnTo>
                    <a:pt x="583" y="741"/>
                  </a:lnTo>
                  <a:lnTo>
                    <a:pt x="579" y="748"/>
                  </a:lnTo>
                  <a:lnTo>
                    <a:pt x="575" y="752"/>
                  </a:lnTo>
                  <a:lnTo>
                    <a:pt x="573" y="754"/>
                  </a:lnTo>
                  <a:lnTo>
                    <a:pt x="572" y="755"/>
                  </a:lnTo>
                  <a:lnTo>
                    <a:pt x="569" y="746"/>
                  </a:lnTo>
                  <a:lnTo>
                    <a:pt x="565" y="730"/>
                  </a:lnTo>
                  <a:lnTo>
                    <a:pt x="563" y="722"/>
                  </a:lnTo>
                  <a:lnTo>
                    <a:pt x="561" y="715"/>
                  </a:lnTo>
                  <a:lnTo>
                    <a:pt x="559" y="713"/>
                  </a:lnTo>
                  <a:lnTo>
                    <a:pt x="558" y="711"/>
                  </a:lnTo>
                  <a:lnTo>
                    <a:pt x="555" y="711"/>
                  </a:lnTo>
                  <a:lnTo>
                    <a:pt x="554" y="711"/>
                  </a:lnTo>
                  <a:lnTo>
                    <a:pt x="549" y="716"/>
                  </a:lnTo>
                  <a:lnTo>
                    <a:pt x="547" y="720"/>
                  </a:lnTo>
                  <a:lnTo>
                    <a:pt x="546" y="725"/>
                  </a:lnTo>
                  <a:lnTo>
                    <a:pt x="547" y="729"/>
                  </a:lnTo>
                  <a:lnTo>
                    <a:pt x="548" y="733"/>
                  </a:lnTo>
                  <a:lnTo>
                    <a:pt x="547" y="737"/>
                  </a:lnTo>
                  <a:lnTo>
                    <a:pt x="544" y="742"/>
                  </a:lnTo>
                  <a:lnTo>
                    <a:pt x="538" y="749"/>
                  </a:lnTo>
                  <a:lnTo>
                    <a:pt x="533" y="751"/>
                  </a:lnTo>
                  <a:lnTo>
                    <a:pt x="529" y="751"/>
                  </a:lnTo>
                  <a:lnTo>
                    <a:pt x="526" y="751"/>
                  </a:lnTo>
                  <a:lnTo>
                    <a:pt x="522" y="749"/>
                  </a:lnTo>
                  <a:lnTo>
                    <a:pt x="519" y="748"/>
                  </a:lnTo>
                  <a:lnTo>
                    <a:pt x="516" y="747"/>
                  </a:lnTo>
                  <a:lnTo>
                    <a:pt x="513" y="749"/>
                  </a:lnTo>
                  <a:lnTo>
                    <a:pt x="510" y="752"/>
                  </a:lnTo>
                  <a:lnTo>
                    <a:pt x="501" y="764"/>
                  </a:lnTo>
                  <a:lnTo>
                    <a:pt x="489" y="779"/>
                  </a:lnTo>
                  <a:lnTo>
                    <a:pt x="483" y="790"/>
                  </a:lnTo>
                  <a:lnTo>
                    <a:pt x="476" y="801"/>
                  </a:lnTo>
                  <a:lnTo>
                    <a:pt x="471" y="810"/>
                  </a:lnTo>
                  <a:lnTo>
                    <a:pt x="467" y="813"/>
                  </a:lnTo>
                  <a:lnTo>
                    <a:pt x="465" y="812"/>
                  </a:lnTo>
                  <a:lnTo>
                    <a:pt x="460" y="811"/>
                  </a:lnTo>
                  <a:lnTo>
                    <a:pt x="457" y="810"/>
                  </a:lnTo>
                  <a:lnTo>
                    <a:pt x="456" y="808"/>
                  </a:lnTo>
                  <a:lnTo>
                    <a:pt x="455" y="806"/>
                  </a:lnTo>
                  <a:lnTo>
                    <a:pt x="455" y="804"/>
                  </a:lnTo>
                  <a:lnTo>
                    <a:pt x="456" y="801"/>
                  </a:lnTo>
                  <a:lnTo>
                    <a:pt x="457" y="797"/>
                  </a:lnTo>
                  <a:lnTo>
                    <a:pt x="457" y="793"/>
                  </a:lnTo>
                  <a:lnTo>
                    <a:pt x="457" y="790"/>
                  </a:lnTo>
                  <a:lnTo>
                    <a:pt x="456" y="785"/>
                  </a:lnTo>
                  <a:lnTo>
                    <a:pt x="455" y="783"/>
                  </a:lnTo>
                  <a:lnTo>
                    <a:pt x="453" y="782"/>
                  </a:lnTo>
                  <a:lnTo>
                    <a:pt x="451" y="782"/>
                  </a:lnTo>
                  <a:lnTo>
                    <a:pt x="445" y="783"/>
                  </a:lnTo>
                  <a:lnTo>
                    <a:pt x="441" y="785"/>
                  </a:lnTo>
                  <a:lnTo>
                    <a:pt x="439" y="788"/>
                  </a:lnTo>
                  <a:lnTo>
                    <a:pt x="437" y="791"/>
                  </a:lnTo>
                  <a:lnTo>
                    <a:pt x="436" y="794"/>
                  </a:lnTo>
                  <a:lnTo>
                    <a:pt x="436" y="797"/>
                  </a:lnTo>
                  <a:lnTo>
                    <a:pt x="436" y="805"/>
                  </a:lnTo>
                  <a:lnTo>
                    <a:pt x="435" y="812"/>
                  </a:lnTo>
                  <a:lnTo>
                    <a:pt x="434" y="817"/>
                  </a:lnTo>
                  <a:lnTo>
                    <a:pt x="432" y="821"/>
                  </a:lnTo>
                  <a:lnTo>
                    <a:pt x="431" y="822"/>
                  </a:lnTo>
                  <a:lnTo>
                    <a:pt x="429" y="822"/>
                  </a:lnTo>
                  <a:lnTo>
                    <a:pt x="427" y="822"/>
                  </a:lnTo>
                  <a:lnTo>
                    <a:pt x="425" y="821"/>
                  </a:lnTo>
                  <a:lnTo>
                    <a:pt x="420" y="819"/>
                  </a:lnTo>
                  <a:lnTo>
                    <a:pt x="418" y="818"/>
                  </a:lnTo>
                  <a:lnTo>
                    <a:pt x="415" y="815"/>
                  </a:lnTo>
                  <a:lnTo>
                    <a:pt x="409" y="806"/>
                  </a:lnTo>
                  <a:lnTo>
                    <a:pt x="404" y="802"/>
                  </a:lnTo>
                  <a:lnTo>
                    <a:pt x="399" y="799"/>
                  </a:lnTo>
                  <a:lnTo>
                    <a:pt x="394" y="797"/>
                  </a:lnTo>
                  <a:lnTo>
                    <a:pt x="390" y="796"/>
                  </a:lnTo>
                  <a:lnTo>
                    <a:pt x="382" y="797"/>
                  </a:lnTo>
                  <a:lnTo>
                    <a:pt x="370" y="798"/>
                  </a:lnTo>
                  <a:lnTo>
                    <a:pt x="361" y="799"/>
                  </a:lnTo>
                  <a:lnTo>
                    <a:pt x="357" y="799"/>
                  </a:lnTo>
                  <a:lnTo>
                    <a:pt x="357" y="797"/>
                  </a:lnTo>
                  <a:lnTo>
                    <a:pt x="356" y="792"/>
                  </a:lnTo>
                  <a:lnTo>
                    <a:pt x="354" y="790"/>
                  </a:lnTo>
                  <a:lnTo>
                    <a:pt x="352" y="789"/>
                  </a:lnTo>
                  <a:lnTo>
                    <a:pt x="348" y="790"/>
                  </a:lnTo>
                  <a:lnTo>
                    <a:pt x="343" y="793"/>
                  </a:lnTo>
                  <a:lnTo>
                    <a:pt x="333" y="800"/>
                  </a:lnTo>
                  <a:lnTo>
                    <a:pt x="328" y="805"/>
                  </a:lnTo>
                  <a:lnTo>
                    <a:pt x="326" y="806"/>
                  </a:lnTo>
                  <a:lnTo>
                    <a:pt x="325" y="806"/>
                  </a:lnTo>
                  <a:lnTo>
                    <a:pt x="324" y="806"/>
                  </a:lnTo>
                  <a:lnTo>
                    <a:pt x="324" y="805"/>
                  </a:lnTo>
                  <a:lnTo>
                    <a:pt x="321" y="801"/>
                  </a:lnTo>
                  <a:lnTo>
                    <a:pt x="319" y="799"/>
                  </a:lnTo>
                  <a:lnTo>
                    <a:pt x="317" y="798"/>
                  </a:lnTo>
                  <a:lnTo>
                    <a:pt x="316" y="798"/>
                  </a:lnTo>
                  <a:lnTo>
                    <a:pt x="315" y="798"/>
                  </a:lnTo>
                  <a:lnTo>
                    <a:pt x="312" y="799"/>
                  </a:lnTo>
                  <a:lnTo>
                    <a:pt x="305" y="805"/>
                  </a:lnTo>
                  <a:lnTo>
                    <a:pt x="300" y="808"/>
                  </a:lnTo>
                  <a:lnTo>
                    <a:pt x="297" y="807"/>
                  </a:lnTo>
                  <a:lnTo>
                    <a:pt x="290" y="804"/>
                  </a:lnTo>
                  <a:lnTo>
                    <a:pt x="286" y="803"/>
                  </a:lnTo>
                  <a:lnTo>
                    <a:pt x="283" y="803"/>
                  </a:lnTo>
                  <a:lnTo>
                    <a:pt x="280" y="803"/>
                  </a:lnTo>
                  <a:lnTo>
                    <a:pt x="278" y="803"/>
                  </a:lnTo>
                  <a:lnTo>
                    <a:pt x="275" y="807"/>
                  </a:lnTo>
                  <a:lnTo>
                    <a:pt x="271" y="813"/>
                  </a:lnTo>
                  <a:lnTo>
                    <a:pt x="269" y="815"/>
                  </a:lnTo>
                  <a:lnTo>
                    <a:pt x="268" y="816"/>
                  </a:lnTo>
                  <a:lnTo>
                    <a:pt x="267" y="816"/>
                  </a:lnTo>
                  <a:lnTo>
                    <a:pt x="267" y="814"/>
                  </a:lnTo>
                  <a:lnTo>
                    <a:pt x="267" y="808"/>
                  </a:lnTo>
                  <a:lnTo>
                    <a:pt x="268" y="801"/>
                  </a:lnTo>
                  <a:lnTo>
                    <a:pt x="267" y="799"/>
                  </a:lnTo>
                  <a:lnTo>
                    <a:pt x="266" y="797"/>
                  </a:lnTo>
                  <a:lnTo>
                    <a:pt x="265" y="797"/>
                  </a:lnTo>
                  <a:lnTo>
                    <a:pt x="262" y="799"/>
                  </a:lnTo>
                  <a:lnTo>
                    <a:pt x="256" y="805"/>
                  </a:lnTo>
                  <a:lnTo>
                    <a:pt x="252" y="811"/>
                  </a:lnTo>
                  <a:lnTo>
                    <a:pt x="249" y="816"/>
                  </a:lnTo>
                  <a:lnTo>
                    <a:pt x="247" y="819"/>
                  </a:lnTo>
                  <a:lnTo>
                    <a:pt x="246" y="822"/>
                  </a:lnTo>
                  <a:lnTo>
                    <a:pt x="245" y="823"/>
                  </a:lnTo>
                  <a:lnTo>
                    <a:pt x="245" y="818"/>
                  </a:lnTo>
                  <a:lnTo>
                    <a:pt x="249" y="810"/>
                  </a:lnTo>
                  <a:lnTo>
                    <a:pt x="249" y="808"/>
                  </a:lnTo>
                  <a:lnTo>
                    <a:pt x="249" y="806"/>
                  </a:lnTo>
                  <a:lnTo>
                    <a:pt x="249" y="805"/>
                  </a:lnTo>
                  <a:lnTo>
                    <a:pt x="246" y="805"/>
                  </a:lnTo>
                  <a:lnTo>
                    <a:pt x="245" y="804"/>
                  </a:lnTo>
                  <a:lnTo>
                    <a:pt x="243" y="802"/>
                  </a:lnTo>
                  <a:lnTo>
                    <a:pt x="241" y="802"/>
                  </a:lnTo>
                  <a:lnTo>
                    <a:pt x="239" y="802"/>
                  </a:lnTo>
                  <a:lnTo>
                    <a:pt x="237" y="804"/>
                  </a:lnTo>
                  <a:lnTo>
                    <a:pt x="234" y="806"/>
                  </a:lnTo>
                  <a:lnTo>
                    <a:pt x="228" y="815"/>
                  </a:lnTo>
                  <a:lnTo>
                    <a:pt x="219" y="824"/>
                  </a:lnTo>
                  <a:lnTo>
                    <a:pt x="212" y="832"/>
                  </a:lnTo>
                  <a:lnTo>
                    <a:pt x="209" y="835"/>
                  </a:lnTo>
                  <a:lnTo>
                    <a:pt x="209" y="833"/>
                  </a:lnTo>
                  <a:lnTo>
                    <a:pt x="209" y="832"/>
                  </a:lnTo>
                  <a:lnTo>
                    <a:pt x="208" y="833"/>
                  </a:lnTo>
                  <a:lnTo>
                    <a:pt x="208" y="834"/>
                  </a:lnTo>
                  <a:lnTo>
                    <a:pt x="203" y="837"/>
                  </a:lnTo>
                  <a:lnTo>
                    <a:pt x="201" y="841"/>
                  </a:lnTo>
                  <a:lnTo>
                    <a:pt x="192" y="854"/>
                  </a:lnTo>
                  <a:lnTo>
                    <a:pt x="181" y="867"/>
                  </a:lnTo>
                  <a:lnTo>
                    <a:pt x="177" y="871"/>
                  </a:lnTo>
                  <a:lnTo>
                    <a:pt x="173" y="877"/>
                  </a:lnTo>
                  <a:lnTo>
                    <a:pt x="169" y="884"/>
                  </a:lnTo>
                  <a:lnTo>
                    <a:pt x="165" y="892"/>
                  </a:lnTo>
                  <a:lnTo>
                    <a:pt x="154" y="911"/>
                  </a:lnTo>
                  <a:lnTo>
                    <a:pt x="147" y="924"/>
                  </a:lnTo>
                  <a:lnTo>
                    <a:pt x="138" y="932"/>
                  </a:lnTo>
                  <a:lnTo>
                    <a:pt x="129" y="945"/>
                  </a:lnTo>
                  <a:lnTo>
                    <a:pt x="124" y="954"/>
                  </a:lnTo>
                  <a:lnTo>
                    <a:pt x="122" y="961"/>
                  </a:lnTo>
                  <a:lnTo>
                    <a:pt x="123" y="965"/>
                  </a:lnTo>
                  <a:lnTo>
                    <a:pt x="126" y="968"/>
                  </a:lnTo>
                  <a:lnTo>
                    <a:pt x="129" y="973"/>
                  </a:lnTo>
                  <a:lnTo>
                    <a:pt x="129" y="978"/>
                  </a:lnTo>
                  <a:lnTo>
                    <a:pt x="129" y="990"/>
                  </a:lnTo>
                  <a:lnTo>
                    <a:pt x="129" y="995"/>
                  </a:lnTo>
                  <a:lnTo>
                    <a:pt x="131" y="994"/>
                  </a:lnTo>
                  <a:lnTo>
                    <a:pt x="134" y="992"/>
                  </a:lnTo>
                  <a:lnTo>
                    <a:pt x="135" y="991"/>
                  </a:lnTo>
                  <a:lnTo>
                    <a:pt x="136" y="991"/>
                  </a:lnTo>
                  <a:lnTo>
                    <a:pt x="137" y="992"/>
                  </a:lnTo>
                  <a:lnTo>
                    <a:pt x="137" y="993"/>
                  </a:lnTo>
                  <a:lnTo>
                    <a:pt x="135" y="1001"/>
                  </a:lnTo>
                  <a:lnTo>
                    <a:pt x="135" y="1005"/>
                  </a:lnTo>
                  <a:lnTo>
                    <a:pt x="134" y="1011"/>
                  </a:lnTo>
                  <a:lnTo>
                    <a:pt x="132" y="1017"/>
                  </a:lnTo>
                  <a:lnTo>
                    <a:pt x="130" y="1020"/>
                  </a:lnTo>
                  <a:lnTo>
                    <a:pt x="129" y="1022"/>
                  </a:lnTo>
                  <a:lnTo>
                    <a:pt x="127" y="1022"/>
                  </a:lnTo>
                  <a:lnTo>
                    <a:pt x="125" y="1020"/>
                  </a:lnTo>
                  <a:lnTo>
                    <a:pt x="121" y="1013"/>
                  </a:lnTo>
                  <a:lnTo>
                    <a:pt x="120" y="1011"/>
                  </a:lnTo>
                  <a:lnTo>
                    <a:pt x="118" y="1015"/>
                  </a:lnTo>
                  <a:lnTo>
                    <a:pt x="111" y="1024"/>
                  </a:lnTo>
                  <a:lnTo>
                    <a:pt x="104" y="1035"/>
                  </a:lnTo>
                  <a:lnTo>
                    <a:pt x="98" y="1045"/>
                  </a:lnTo>
                  <a:lnTo>
                    <a:pt x="88" y="1056"/>
                  </a:lnTo>
                  <a:lnTo>
                    <a:pt x="84" y="1062"/>
                  </a:lnTo>
                  <a:lnTo>
                    <a:pt x="86" y="1067"/>
                  </a:lnTo>
                  <a:lnTo>
                    <a:pt x="88" y="1073"/>
                  </a:lnTo>
                  <a:lnTo>
                    <a:pt x="87" y="1076"/>
                  </a:lnTo>
                  <a:lnTo>
                    <a:pt x="86" y="1081"/>
                  </a:lnTo>
                  <a:lnTo>
                    <a:pt x="86" y="1085"/>
                  </a:lnTo>
                  <a:lnTo>
                    <a:pt x="87" y="1088"/>
                  </a:lnTo>
                  <a:lnTo>
                    <a:pt x="96" y="1088"/>
                  </a:lnTo>
                  <a:lnTo>
                    <a:pt x="103" y="1087"/>
                  </a:lnTo>
                  <a:lnTo>
                    <a:pt x="108" y="1084"/>
                  </a:lnTo>
                  <a:lnTo>
                    <a:pt x="113" y="1078"/>
                  </a:lnTo>
                  <a:lnTo>
                    <a:pt x="115" y="1074"/>
                  </a:lnTo>
                  <a:lnTo>
                    <a:pt x="118" y="1069"/>
                  </a:lnTo>
                  <a:lnTo>
                    <a:pt x="119" y="1068"/>
                  </a:lnTo>
                  <a:lnTo>
                    <a:pt x="119" y="1067"/>
                  </a:lnTo>
                  <a:lnTo>
                    <a:pt x="120" y="1068"/>
                  </a:lnTo>
                  <a:lnTo>
                    <a:pt x="119" y="1070"/>
                  </a:lnTo>
                  <a:lnTo>
                    <a:pt x="119" y="1080"/>
                  </a:lnTo>
                  <a:lnTo>
                    <a:pt x="120" y="1085"/>
                  </a:lnTo>
                  <a:lnTo>
                    <a:pt x="120" y="1087"/>
                  </a:lnTo>
                  <a:lnTo>
                    <a:pt x="120" y="1089"/>
                  </a:lnTo>
                  <a:lnTo>
                    <a:pt x="119" y="1091"/>
                  </a:lnTo>
                  <a:lnTo>
                    <a:pt x="116" y="1095"/>
                  </a:lnTo>
                  <a:lnTo>
                    <a:pt x="109" y="1102"/>
                  </a:lnTo>
                  <a:lnTo>
                    <a:pt x="104" y="1106"/>
                  </a:lnTo>
                  <a:lnTo>
                    <a:pt x="101" y="1117"/>
                  </a:lnTo>
                  <a:lnTo>
                    <a:pt x="96" y="1125"/>
                  </a:lnTo>
                  <a:lnTo>
                    <a:pt x="93" y="1124"/>
                  </a:lnTo>
                  <a:lnTo>
                    <a:pt x="92" y="1123"/>
                  </a:lnTo>
                  <a:lnTo>
                    <a:pt x="91" y="1123"/>
                  </a:lnTo>
                  <a:lnTo>
                    <a:pt x="90" y="1123"/>
                  </a:lnTo>
                  <a:lnTo>
                    <a:pt x="89" y="1124"/>
                  </a:lnTo>
                  <a:lnTo>
                    <a:pt x="88" y="1126"/>
                  </a:lnTo>
                  <a:lnTo>
                    <a:pt x="82" y="1137"/>
                  </a:lnTo>
                  <a:lnTo>
                    <a:pt x="79" y="1147"/>
                  </a:lnTo>
                  <a:lnTo>
                    <a:pt x="78" y="1153"/>
                  </a:lnTo>
                  <a:lnTo>
                    <a:pt x="75" y="1158"/>
                  </a:lnTo>
                  <a:lnTo>
                    <a:pt x="72" y="1161"/>
                  </a:lnTo>
                  <a:lnTo>
                    <a:pt x="71" y="1163"/>
                  </a:lnTo>
                  <a:lnTo>
                    <a:pt x="68" y="1168"/>
                  </a:lnTo>
                  <a:lnTo>
                    <a:pt x="66" y="1178"/>
                  </a:lnTo>
                  <a:lnTo>
                    <a:pt x="64" y="1192"/>
                  </a:lnTo>
                  <a:lnTo>
                    <a:pt x="63" y="1202"/>
                  </a:lnTo>
                  <a:lnTo>
                    <a:pt x="63" y="1210"/>
                  </a:lnTo>
                  <a:lnTo>
                    <a:pt x="64" y="1214"/>
                  </a:lnTo>
                  <a:lnTo>
                    <a:pt x="66" y="1220"/>
                  </a:lnTo>
                  <a:lnTo>
                    <a:pt x="70" y="1232"/>
                  </a:lnTo>
                  <a:lnTo>
                    <a:pt x="70" y="1233"/>
                  </a:lnTo>
                  <a:lnTo>
                    <a:pt x="71" y="1234"/>
                  </a:lnTo>
                  <a:lnTo>
                    <a:pt x="72" y="1234"/>
                  </a:lnTo>
                  <a:lnTo>
                    <a:pt x="75" y="1234"/>
                  </a:lnTo>
                  <a:lnTo>
                    <a:pt x="77" y="1232"/>
                  </a:lnTo>
                  <a:lnTo>
                    <a:pt x="79" y="1230"/>
                  </a:lnTo>
                  <a:lnTo>
                    <a:pt x="81" y="1227"/>
                  </a:lnTo>
                  <a:lnTo>
                    <a:pt x="83" y="1224"/>
                  </a:lnTo>
                  <a:lnTo>
                    <a:pt x="84" y="1223"/>
                  </a:lnTo>
                  <a:lnTo>
                    <a:pt x="85" y="1224"/>
                  </a:lnTo>
                  <a:lnTo>
                    <a:pt x="84" y="1232"/>
                  </a:lnTo>
                  <a:lnTo>
                    <a:pt x="81" y="1244"/>
                  </a:lnTo>
                  <a:lnTo>
                    <a:pt x="80" y="1251"/>
                  </a:lnTo>
                  <a:lnTo>
                    <a:pt x="79" y="1257"/>
                  </a:lnTo>
                  <a:lnTo>
                    <a:pt x="79" y="1262"/>
                  </a:lnTo>
                  <a:lnTo>
                    <a:pt x="80" y="1266"/>
                  </a:lnTo>
                  <a:lnTo>
                    <a:pt x="81" y="1268"/>
                  </a:lnTo>
                  <a:lnTo>
                    <a:pt x="83" y="1269"/>
                  </a:lnTo>
                  <a:lnTo>
                    <a:pt x="86" y="1269"/>
                  </a:lnTo>
                  <a:lnTo>
                    <a:pt x="88" y="1267"/>
                  </a:lnTo>
                  <a:lnTo>
                    <a:pt x="92" y="1263"/>
                  </a:lnTo>
                  <a:lnTo>
                    <a:pt x="97" y="1258"/>
                  </a:lnTo>
                  <a:lnTo>
                    <a:pt x="99" y="1259"/>
                  </a:lnTo>
                  <a:lnTo>
                    <a:pt x="103" y="1263"/>
                  </a:lnTo>
                  <a:lnTo>
                    <a:pt x="108" y="1259"/>
                  </a:lnTo>
                  <a:lnTo>
                    <a:pt x="115" y="1251"/>
                  </a:lnTo>
                  <a:lnTo>
                    <a:pt x="119" y="1247"/>
                  </a:lnTo>
                  <a:lnTo>
                    <a:pt x="121" y="1245"/>
                  </a:lnTo>
                  <a:lnTo>
                    <a:pt x="122" y="1244"/>
                  </a:lnTo>
                  <a:lnTo>
                    <a:pt x="121" y="1247"/>
                  </a:lnTo>
                  <a:lnTo>
                    <a:pt x="119" y="1252"/>
                  </a:lnTo>
                  <a:lnTo>
                    <a:pt x="116" y="1256"/>
                  </a:lnTo>
                  <a:lnTo>
                    <a:pt x="114" y="1259"/>
                  </a:lnTo>
                  <a:lnTo>
                    <a:pt x="113" y="1264"/>
                  </a:lnTo>
                  <a:lnTo>
                    <a:pt x="114" y="1273"/>
                  </a:lnTo>
                  <a:lnTo>
                    <a:pt x="114" y="1275"/>
                  </a:lnTo>
                  <a:lnTo>
                    <a:pt x="110" y="1284"/>
                  </a:lnTo>
                  <a:lnTo>
                    <a:pt x="104" y="1297"/>
                  </a:lnTo>
                  <a:lnTo>
                    <a:pt x="97" y="1307"/>
                  </a:lnTo>
                  <a:lnTo>
                    <a:pt x="83" y="1326"/>
                  </a:lnTo>
                  <a:lnTo>
                    <a:pt x="69" y="1345"/>
                  </a:lnTo>
                  <a:lnTo>
                    <a:pt x="61" y="1356"/>
                  </a:lnTo>
                  <a:lnTo>
                    <a:pt x="53" y="1371"/>
                  </a:lnTo>
                  <a:lnTo>
                    <a:pt x="45" y="1383"/>
                  </a:lnTo>
                  <a:lnTo>
                    <a:pt x="40" y="1386"/>
                  </a:lnTo>
                  <a:lnTo>
                    <a:pt x="37" y="1391"/>
                  </a:lnTo>
                  <a:lnTo>
                    <a:pt x="37" y="1394"/>
                  </a:lnTo>
                  <a:lnTo>
                    <a:pt x="36" y="1397"/>
                  </a:lnTo>
                  <a:lnTo>
                    <a:pt x="35" y="1399"/>
                  </a:lnTo>
                  <a:lnTo>
                    <a:pt x="34" y="1400"/>
                  </a:lnTo>
                  <a:lnTo>
                    <a:pt x="31" y="1402"/>
                  </a:lnTo>
                  <a:lnTo>
                    <a:pt x="27" y="1404"/>
                  </a:lnTo>
                  <a:lnTo>
                    <a:pt x="25" y="1406"/>
                  </a:lnTo>
                  <a:lnTo>
                    <a:pt x="24" y="1409"/>
                  </a:lnTo>
                  <a:lnTo>
                    <a:pt x="21" y="1414"/>
                  </a:lnTo>
                  <a:lnTo>
                    <a:pt x="17" y="1419"/>
                  </a:lnTo>
                  <a:lnTo>
                    <a:pt x="13" y="1426"/>
                  </a:lnTo>
                  <a:lnTo>
                    <a:pt x="10" y="1434"/>
                  </a:lnTo>
                  <a:lnTo>
                    <a:pt x="9" y="1436"/>
                  </a:lnTo>
                  <a:lnTo>
                    <a:pt x="8" y="1437"/>
                  </a:lnTo>
                  <a:lnTo>
                    <a:pt x="6" y="1437"/>
                  </a:lnTo>
                  <a:lnTo>
                    <a:pt x="4" y="1438"/>
                  </a:lnTo>
                  <a:lnTo>
                    <a:pt x="3" y="1438"/>
                  </a:lnTo>
                  <a:lnTo>
                    <a:pt x="1" y="1439"/>
                  </a:lnTo>
                  <a:lnTo>
                    <a:pt x="1" y="1442"/>
                  </a:lnTo>
                  <a:lnTo>
                    <a:pt x="0" y="1447"/>
                  </a:lnTo>
                  <a:lnTo>
                    <a:pt x="0" y="1454"/>
                  </a:lnTo>
                  <a:lnTo>
                    <a:pt x="1" y="1458"/>
                  </a:lnTo>
                  <a:lnTo>
                    <a:pt x="2" y="1458"/>
                  </a:lnTo>
                  <a:lnTo>
                    <a:pt x="3" y="1455"/>
                  </a:lnTo>
                  <a:lnTo>
                    <a:pt x="6" y="1446"/>
                  </a:lnTo>
                  <a:lnTo>
                    <a:pt x="10" y="1439"/>
                  </a:lnTo>
                  <a:lnTo>
                    <a:pt x="12" y="1440"/>
                  </a:lnTo>
                  <a:lnTo>
                    <a:pt x="15" y="1438"/>
                  </a:lnTo>
                  <a:lnTo>
                    <a:pt x="18" y="1435"/>
                  </a:lnTo>
                  <a:lnTo>
                    <a:pt x="21" y="1430"/>
                  </a:lnTo>
                  <a:lnTo>
                    <a:pt x="23" y="1422"/>
                  </a:lnTo>
                  <a:lnTo>
                    <a:pt x="24" y="1415"/>
                  </a:lnTo>
                  <a:lnTo>
                    <a:pt x="25" y="1413"/>
                  </a:lnTo>
                  <a:lnTo>
                    <a:pt x="26" y="1410"/>
                  </a:lnTo>
                  <a:lnTo>
                    <a:pt x="27" y="1409"/>
                  </a:lnTo>
                  <a:lnTo>
                    <a:pt x="30" y="1408"/>
                  </a:lnTo>
                  <a:lnTo>
                    <a:pt x="34" y="1409"/>
                  </a:lnTo>
                  <a:lnTo>
                    <a:pt x="36" y="1409"/>
                  </a:lnTo>
                  <a:lnTo>
                    <a:pt x="39" y="1407"/>
                  </a:lnTo>
                  <a:lnTo>
                    <a:pt x="42" y="1400"/>
                  </a:lnTo>
                  <a:lnTo>
                    <a:pt x="46" y="1392"/>
                  </a:lnTo>
                  <a:lnTo>
                    <a:pt x="48" y="1387"/>
                  </a:lnTo>
                  <a:lnTo>
                    <a:pt x="50" y="1385"/>
                  </a:lnTo>
                  <a:lnTo>
                    <a:pt x="52" y="1384"/>
                  </a:lnTo>
                  <a:lnTo>
                    <a:pt x="54" y="1384"/>
                  </a:lnTo>
                  <a:lnTo>
                    <a:pt x="55" y="1385"/>
                  </a:lnTo>
                  <a:lnTo>
                    <a:pt x="57" y="1385"/>
                  </a:lnTo>
                  <a:lnTo>
                    <a:pt x="59" y="1384"/>
                  </a:lnTo>
                  <a:lnTo>
                    <a:pt x="61" y="1383"/>
                  </a:lnTo>
                  <a:lnTo>
                    <a:pt x="62" y="1381"/>
                  </a:lnTo>
                  <a:lnTo>
                    <a:pt x="65" y="1377"/>
                  </a:lnTo>
                  <a:lnTo>
                    <a:pt x="66" y="1375"/>
                  </a:lnTo>
                  <a:lnTo>
                    <a:pt x="66" y="1371"/>
                  </a:lnTo>
                  <a:lnTo>
                    <a:pt x="68" y="1365"/>
                  </a:lnTo>
                  <a:lnTo>
                    <a:pt x="70" y="1362"/>
                  </a:lnTo>
                  <a:lnTo>
                    <a:pt x="72" y="1361"/>
                  </a:lnTo>
                  <a:lnTo>
                    <a:pt x="75" y="1361"/>
                  </a:lnTo>
                  <a:lnTo>
                    <a:pt x="77" y="1364"/>
                  </a:lnTo>
                  <a:lnTo>
                    <a:pt x="79" y="1369"/>
                  </a:lnTo>
                  <a:lnTo>
                    <a:pt x="82" y="1372"/>
                  </a:lnTo>
                  <a:lnTo>
                    <a:pt x="85" y="1374"/>
                  </a:lnTo>
                  <a:lnTo>
                    <a:pt x="88" y="1375"/>
                  </a:lnTo>
                  <a:lnTo>
                    <a:pt x="91" y="1375"/>
                  </a:lnTo>
                  <a:lnTo>
                    <a:pt x="92" y="1375"/>
                  </a:lnTo>
                  <a:lnTo>
                    <a:pt x="93" y="1373"/>
                  </a:lnTo>
                  <a:lnTo>
                    <a:pt x="92" y="1369"/>
                  </a:lnTo>
                  <a:lnTo>
                    <a:pt x="89" y="1361"/>
                  </a:lnTo>
                  <a:lnTo>
                    <a:pt x="85" y="1354"/>
                  </a:lnTo>
                  <a:lnTo>
                    <a:pt x="84" y="1351"/>
                  </a:lnTo>
                  <a:lnTo>
                    <a:pt x="83" y="1349"/>
                  </a:lnTo>
                  <a:lnTo>
                    <a:pt x="83" y="1347"/>
                  </a:lnTo>
                  <a:lnTo>
                    <a:pt x="84" y="1346"/>
                  </a:lnTo>
                  <a:lnTo>
                    <a:pt x="88" y="1345"/>
                  </a:lnTo>
                  <a:lnTo>
                    <a:pt x="92" y="1343"/>
                  </a:lnTo>
                  <a:lnTo>
                    <a:pt x="96" y="1342"/>
                  </a:lnTo>
                  <a:lnTo>
                    <a:pt x="98" y="1340"/>
                  </a:lnTo>
                  <a:lnTo>
                    <a:pt x="99" y="1338"/>
                  </a:lnTo>
                  <a:lnTo>
                    <a:pt x="101" y="1335"/>
                  </a:lnTo>
                  <a:lnTo>
                    <a:pt x="106" y="1325"/>
                  </a:lnTo>
                  <a:lnTo>
                    <a:pt x="115" y="1310"/>
                  </a:lnTo>
                  <a:lnTo>
                    <a:pt x="126" y="1294"/>
                  </a:lnTo>
                  <a:lnTo>
                    <a:pt x="132" y="1281"/>
                  </a:lnTo>
                  <a:lnTo>
                    <a:pt x="136" y="1271"/>
                  </a:lnTo>
                  <a:lnTo>
                    <a:pt x="143" y="1258"/>
                  </a:lnTo>
                  <a:lnTo>
                    <a:pt x="149" y="1245"/>
                  </a:lnTo>
                  <a:lnTo>
                    <a:pt x="153" y="1237"/>
                  </a:lnTo>
                  <a:lnTo>
                    <a:pt x="158" y="1225"/>
                  </a:lnTo>
                  <a:lnTo>
                    <a:pt x="166" y="1207"/>
                  </a:lnTo>
                  <a:lnTo>
                    <a:pt x="172" y="1189"/>
                  </a:lnTo>
                  <a:lnTo>
                    <a:pt x="175" y="1180"/>
                  </a:lnTo>
                  <a:lnTo>
                    <a:pt x="179" y="1174"/>
                  </a:lnTo>
                  <a:lnTo>
                    <a:pt x="190" y="1159"/>
                  </a:lnTo>
                  <a:lnTo>
                    <a:pt x="195" y="1153"/>
                  </a:lnTo>
                  <a:lnTo>
                    <a:pt x="199" y="1148"/>
                  </a:lnTo>
                  <a:lnTo>
                    <a:pt x="201" y="1146"/>
                  </a:lnTo>
                  <a:lnTo>
                    <a:pt x="202" y="1145"/>
                  </a:lnTo>
                  <a:lnTo>
                    <a:pt x="203" y="1145"/>
                  </a:lnTo>
                  <a:lnTo>
                    <a:pt x="203" y="1146"/>
                  </a:lnTo>
                  <a:lnTo>
                    <a:pt x="203" y="1153"/>
                  </a:lnTo>
                  <a:lnTo>
                    <a:pt x="202" y="1158"/>
                  </a:lnTo>
                  <a:lnTo>
                    <a:pt x="200" y="1162"/>
                  </a:lnTo>
                  <a:lnTo>
                    <a:pt x="198" y="1163"/>
                  </a:lnTo>
                  <a:lnTo>
                    <a:pt x="196" y="1164"/>
                  </a:lnTo>
                  <a:lnTo>
                    <a:pt x="194" y="1164"/>
                  </a:lnTo>
                  <a:lnTo>
                    <a:pt x="192" y="1166"/>
                  </a:lnTo>
                  <a:lnTo>
                    <a:pt x="189" y="1172"/>
                  </a:lnTo>
                  <a:lnTo>
                    <a:pt x="181" y="1189"/>
                  </a:lnTo>
                  <a:lnTo>
                    <a:pt x="177" y="1201"/>
                  </a:lnTo>
                  <a:lnTo>
                    <a:pt x="176" y="1207"/>
                  </a:lnTo>
                  <a:lnTo>
                    <a:pt x="174" y="1214"/>
                  </a:lnTo>
                  <a:lnTo>
                    <a:pt x="172" y="1221"/>
                  </a:lnTo>
                  <a:lnTo>
                    <a:pt x="169" y="1225"/>
                  </a:lnTo>
                  <a:lnTo>
                    <a:pt x="167" y="1232"/>
                  </a:lnTo>
                  <a:lnTo>
                    <a:pt x="164" y="1242"/>
                  </a:lnTo>
                  <a:lnTo>
                    <a:pt x="159" y="1254"/>
                  </a:lnTo>
                  <a:lnTo>
                    <a:pt x="153" y="1263"/>
                  </a:lnTo>
                  <a:lnTo>
                    <a:pt x="147" y="1269"/>
                  </a:lnTo>
                  <a:lnTo>
                    <a:pt x="142" y="1274"/>
                  </a:lnTo>
                  <a:lnTo>
                    <a:pt x="140" y="1276"/>
                  </a:lnTo>
                  <a:lnTo>
                    <a:pt x="137" y="1278"/>
                  </a:lnTo>
                  <a:lnTo>
                    <a:pt x="136" y="1280"/>
                  </a:lnTo>
                  <a:lnTo>
                    <a:pt x="136" y="1283"/>
                  </a:lnTo>
                  <a:lnTo>
                    <a:pt x="136" y="1286"/>
                  </a:lnTo>
                  <a:lnTo>
                    <a:pt x="137" y="1288"/>
                  </a:lnTo>
                  <a:lnTo>
                    <a:pt x="138" y="1290"/>
                  </a:lnTo>
                  <a:lnTo>
                    <a:pt x="141" y="1291"/>
                  </a:lnTo>
                  <a:lnTo>
                    <a:pt x="142" y="1293"/>
                  </a:lnTo>
                  <a:lnTo>
                    <a:pt x="143" y="1295"/>
                  </a:lnTo>
                  <a:lnTo>
                    <a:pt x="142" y="1297"/>
                  </a:lnTo>
                  <a:lnTo>
                    <a:pt x="141" y="1300"/>
                  </a:lnTo>
                  <a:lnTo>
                    <a:pt x="137" y="1307"/>
                  </a:lnTo>
                  <a:lnTo>
                    <a:pt x="135" y="1313"/>
                  </a:lnTo>
                  <a:lnTo>
                    <a:pt x="135" y="1318"/>
                  </a:lnTo>
                  <a:lnTo>
                    <a:pt x="136" y="1320"/>
                  </a:lnTo>
                  <a:lnTo>
                    <a:pt x="143" y="1312"/>
                  </a:lnTo>
                  <a:lnTo>
                    <a:pt x="148" y="1304"/>
                  </a:lnTo>
                  <a:lnTo>
                    <a:pt x="154" y="1299"/>
                  </a:lnTo>
                  <a:lnTo>
                    <a:pt x="163" y="1288"/>
                  </a:lnTo>
                  <a:lnTo>
                    <a:pt x="165" y="1282"/>
                  </a:lnTo>
                  <a:lnTo>
                    <a:pt x="167" y="1271"/>
                  </a:lnTo>
                  <a:lnTo>
                    <a:pt x="169" y="1260"/>
                  </a:lnTo>
                  <a:lnTo>
                    <a:pt x="169" y="1255"/>
                  </a:lnTo>
                  <a:lnTo>
                    <a:pt x="169" y="1252"/>
                  </a:lnTo>
                  <a:lnTo>
                    <a:pt x="169" y="1244"/>
                  </a:lnTo>
                  <a:lnTo>
                    <a:pt x="170" y="1239"/>
                  </a:lnTo>
                  <a:lnTo>
                    <a:pt x="172" y="1234"/>
                  </a:lnTo>
                  <a:lnTo>
                    <a:pt x="175" y="1228"/>
                  </a:lnTo>
                  <a:lnTo>
                    <a:pt x="180" y="1221"/>
                  </a:lnTo>
                  <a:lnTo>
                    <a:pt x="198" y="1202"/>
                  </a:lnTo>
                  <a:lnTo>
                    <a:pt x="205" y="1196"/>
                  </a:lnTo>
                  <a:lnTo>
                    <a:pt x="208" y="1192"/>
                  </a:lnTo>
                  <a:lnTo>
                    <a:pt x="211" y="1186"/>
                  </a:lnTo>
                  <a:lnTo>
                    <a:pt x="213" y="1184"/>
                  </a:lnTo>
                  <a:lnTo>
                    <a:pt x="215" y="1181"/>
                  </a:lnTo>
                  <a:lnTo>
                    <a:pt x="216" y="1183"/>
                  </a:lnTo>
                  <a:lnTo>
                    <a:pt x="218" y="1185"/>
                  </a:lnTo>
                  <a:lnTo>
                    <a:pt x="219" y="1186"/>
                  </a:lnTo>
                  <a:lnTo>
                    <a:pt x="219" y="1186"/>
                  </a:lnTo>
                  <a:lnTo>
                    <a:pt x="220" y="1186"/>
                  </a:lnTo>
                  <a:lnTo>
                    <a:pt x="221" y="1186"/>
                  </a:lnTo>
                  <a:lnTo>
                    <a:pt x="224" y="1183"/>
                  </a:lnTo>
                  <a:lnTo>
                    <a:pt x="227" y="1179"/>
                  </a:lnTo>
                  <a:lnTo>
                    <a:pt x="228" y="1174"/>
                  </a:lnTo>
                  <a:lnTo>
                    <a:pt x="229" y="1170"/>
                  </a:lnTo>
                  <a:lnTo>
                    <a:pt x="230" y="1167"/>
                  </a:lnTo>
                  <a:lnTo>
                    <a:pt x="229" y="1165"/>
                  </a:lnTo>
                  <a:lnTo>
                    <a:pt x="229" y="1162"/>
                  </a:lnTo>
                  <a:lnTo>
                    <a:pt x="229" y="1158"/>
                  </a:lnTo>
                  <a:lnTo>
                    <a:pt x="230" y="1154"/>
                  </a:lnTo>
                  <a:lnTo>
                    <a:pt x="232" y="1150"/>
                  </a:lnTo>
                  <a:lnTo>
                    <a:pt x="233" y="1147"/>
                  </a:lnTo>
                  <a:lnTo>
                    <a:pt x="235" y="1145"/>
                  </a:lnTo>
                  <a:lnTo>
                    <a:pt x="236" y="1145"/>
                  </a:lnTo>
                  <a:lnTo>
                    <a:pt x="238" y="1146"/>
                  </a:lnTo>
                  <a:lnTo>
                    <a:pt x="238" y="1147"/>
                  </a:lnTo>
                  <a:lnTo>
                    <a:pt x="239" y="1149"/>
                  </a:lnTo>
                  <a:lnTo>
                    <a:pt x="243" y="1157"/>
                  </a:lnTo>
                  <a:lnTo>
                    <a:pt x="249" y="1162"/>
                  </a:lnTo>
                  <a:lnTo>
                    <a:pt x="252" y="1165"/>
                  </a:lnTo>
                  <a:lnTo>
                    <a:pt x="253" y="1166"/>
                  </a:lnTo>
                  <a:lnTo>
                    <a:pt x="257" y="1168"/>
                  </a:lnTo>
                  <a:lnTo>
                    <a:pt x="267" y="1174"/>
                  </a:lnTo>
                  <a:lnTo>
                    <a:pt x="271" y="1174"/>
                  </a:lnTo>
                  <a:lnTo>
                    <a:pt x="273" y="1173"/>
                  </a:lnTo>
                  <a:lnTo>
                    <a:pt x="275" y="1172"/>
                  </a:lnTo>
                  <a:lnTo>
                    <a:pt x="277" y="1170"/>
                  </a:lnTo>
                  <a:lnTo>
                    <a:pt x="280" y="1168"/>
                  </a:lnTo>
                  <a:lnTo>
                    <a:pt x="283" y="1168"/>
                  </a:lnTo>
                  <a:lnTo>
                    <a:pt x="288" y="1169"/>
                  </a:lnTo>
                  <a:lnTo>
                    <a:pt x="295" y="1172"/>
                  </a:lnTo>
                  <a:lnTo>
                    <a:pt x="306" y="1181"/>
                  </a:lnTo>
                  <a:lnTo>
                    <a:pt x="315" y="1188"/>
                  </a:lnTo>
                  <a:lnTo>
                    <a:pt x="322" y="1194"/>
                  </a:lnTo>
                  <a:lnTo>
                    <a:pt x="327" y="1200"/>
                  </a:lnTo>
                  <a:lnTo>
                    <a:pt x="331" y="1202"/>
                  </a:lnTo>
                  <a:lnTo>
                    <a:pt x="337" y="1203"/>
                  </a:lnTo>
                  <a:lnTo>
                    <a:pt x="341" y="1203"/>
                  </a:lnTo>
                  <a:lnTo>
                    <a:pt x="346" y="1205"/>
                  </a:lnTo>
                  <a:lnTo>
                    <a:pt x="349" y="1206"/>
                  </a:lnTo>
                  <a:lnTo>
                    <a:pt x="352" y="1209"/>
                  </a:lnTo>
                  <a:lnTo>
                    <a:pt x="354" y="1214"/>
                  </a:lnTo>
                  <a:lnTo>
                    <a:pt x="355" y="1223"/>
                  </a:lnTo>
                  <a:lnTo>
                    <a:pt x="354" y="1241"/>
                  </a:lnTo>
                  <a:lnTo>
                    <a:pt x="354" y="1256"/>
                  </a:lnTo>
                  <a:lnTo>
                    <a:pt x="354" y="1261"/>
                  </a:lnTo>
                  <a:lnTo>
                    <a:pt x="355" y="1266"/>
                  </a:lnTo>
                  <a:lnTo>
                    <a:pt x="357" y="1271"/>
                  </a:lnTo>
                  <a:lnTo>
                    <a:pt x="361" y="1275"/>
                  </a:lnTo>
                  <a:lnTo>
                    <a:pt x="371" y="1285"/>
                  </a:lnTo>
                  <a:lnTo>
                    <a:pt x="386" y="1302"/>
                  </a:lnTo>
                  <a:lnTo>
                    <a:pt x="400" y="1320"/>
                  </a:lnTo>
                  <a:lnTo>
                    <a:pt x="411" y="1330"/>
                  </a:lnTo>
                  <a:lnTo>
                    <a:pt x="415" y="1333"/>
                  </a:lnTo>
                  <a:lnTo>
                    <a:pt x="420" y="1335"/>
                  </a:lnTo>
                  <a:lnTo>
                    <a:pt x="426" y="1335"/>
                  </a:lnTo>
                  <a:lnTo>
                    <a:pt x="430" y="1337"/>
                  </a:lnTo>
                  <a:lnTo>
                    <a:pt x="435" y="1338"/>
                  </a:lnTo>
                  <a:lnTo>
                    <a:pt x="439" y="1340"/>
                  </a:lnTo>
                  <a:lnTo>
                    <a:pt x="442" y="1345"/>
                  </a:lnTo>
                  <a:lnTo>
                    <a:pt x="444" y="1351"/>
                  </a:lnTo>
                  <a:lnTo>
                    <a:pt x="447" y="1361"/>
                  </a:lnTo>
                  <a:lnTo>
                    <a:pt x="451" y="1370"/>
                  </a:lnTo>
                  <a:lnTo>
                    <a:pt x="455" y="1380"/>
                  </a:lnTo>
                  <a:lnTo>
                    <a:pt x="459" y="1389"/>
                  </a:lnTo>
                  <a:lnTo>
                    <a:pt x="466" y="1404"/>
                  </a:lnTo>
                  <a:lnTo>
                    <a:pt x="470" y="1410"/>
                  </a:lnTo>
                  <a:lnTo>
                    <a:pt x="471" y="1412"/>
                  </a:lnTo>
                  <a:lnTo>
                    <a:pt x="472" y="1419"/>
                  </a:lnTo>
                  <a:lnTo>
                    <a:pt x="473" y="1426"/>
                  </a:lnTo>
                  <a:lnTo>
                    <a:pt x="472" y="1432"/>
                  </a:lnTo>
                  <a:lnTo>
                    <a:pt x="471" y="1440"/>
                  </a:lnTo>
                  <a:lnTo>
                    <a:pt x="469" y="1449"/>
                  </a:lnTo>
                  <a:lnTo>
                    <a:pt x="467" y="1454"/>
                  </a:lnTo>
                  <a:lnTo>
                    <a:pt x="466" y="1458"/>
                  </a:lnTo>
                  <a:lnTo>
                    <a:pt x="467" y="1461"/>
                  </a:lnTo>
                  <a:lnTo>
                    <a:pt x="469" y="1464"/>
                  </a:lnTo>
                  <a:lnTo>
                    <a:pt x="474" y="1471"/>
                  </a:lnTo>
                  <a:lnTo>
                    <a:pt x="480" y="1476"/>
                  </a:lnTo>
                  <a:lnTo>
                    <a:pt x="487" y="1482"/>
                  </a:lnTo>
                  <a:lnTo>
                    <a:pt x="495" y="1488"/>
                  </a:lnTo>
                  <a:lnTo>
                    <a:pt x="498" y="1493"/>
                  </a:lnTo>
                  <a:lnTo>
                    <a:pt x="501" y="1497"/>
                  </a:lnTo>
                  <a:lnTo>
                    <a:pt x="503" y="1502"/>
                  </a:lnTo>
                  <a:lnTo>
                    <a:pt x="505" y="1508"/>
                  </a:lnTo>
                  <a:lnTo>
                    <a:pt x="514" y="1530"/>
                  </a:lnTo>
                  <a:lnTo>
                    <a:pt x="520" y="1550"/>
                  </a:lnTo>
                  <a:lnTo>
                    <a:pt x="522" y="1562"/>
                  </a:lnTo>
                  <a:lnTo>
                    <a:pt x="524" y="1573"/>
                  </a:lnTo>
                  <a:lnTo>
                    <a:pt x="525" y="1586"/>
                  </a:lnTo>
                  <a:lnTo>
                    <a:pt x="525" y="1601"/>
                  </a:lnTo>
                  <a:lnTo>
                    <a:pt x="523" y="1615"/>
                  </a:lnTo>
                  <a:lnTo>
                    <a:pt x="521" y="1630"/>
                  </a:lnTo>
                  <a:lnTo>
                    <a:pt x="517" y="1642"/>
                  </a:lnTo>
                  <a:lnTo>
                    <a:pt x="513" y="1655"/>
                  </a:lnTo>
                  <a:lnTo>
                    <a:pt x="509" y="1668"/>
                  </a:lnTo>
                  <a:lnTo>
                    <a:pt x="506" y="1679"/>
                  </a:lnTo>
                  <a:lnTo>
                    <a:pt x="504" y="1691"/>
                  </a:lnTo>
                  <a:lnTo>
                    <a:pt x="504" y="1701"/>
                  </a:lnTo>
                  <a:lnTo>
                    <a:pt x="506" y="1713"/>
                  </a:lnTo>
                  <a:lnTo>
                    <a:pt x="509" y="1725"/>
                  </a:lnTo>
                  <a:lnTo>
                    <a:pt x="515" y="1739"/>
                  </a:lnTo>
                  <a:lnTo>
                    <a:pt x="521" y="1754"/>
                  </a:lnTo>
                  <a:lnTo>
                    <a:pt x="533" y="1781"/>
                  </a:lnTo>
                  <a:lnTo>
                    <a:pt x="545" y="1806"/>
                  </a:lnTo>
                  <a:lnTo>
                    <a:pt x="554" y="1830"/>
                  </a:lnTo>
                  <a:lnTo>
                    <a:pt x="565" y="1854"/>
                  </a:lnTo>
                  <a:lnTo>
                    <a:pt x="570" y="1865"/>
                  </a:lnTo>
                  <a:lnTo>
                    <a:pt x="575" y="1874"/>
                  </a:lnTo>
                  <a:lnTo>
                    <a:pt x="581" y="1882"/>
                  </a:lnTo>
                  <a:lnTo>
                    <a:pt x="586" y="1888"/>
                  </a:lnTo>
                  <a:lnTo>
                    <a:pt x="598" y="1894"/>
                  </a:lnTo>
                  <a:lnTo>
                    <a:pt x="613" y="1900"/>
                  </a:lnTo>
                  <a:lnTo>
                    <a:pt x="620" y="1902"/>
                  </a:lnTo>
                  <a:lnTo>
                    <a:pt x="627" y="1905"/>
                  </a:lnTo>
                  <a:lnTo>
                    <a:pt x="632" y="1910"/>
                  </a:lnTo>
                  <a:lnTo>
                    <a:pt x="635" y="1915"/>
                  </a:lnTo>
                  <a:lnTo>
                    <a:pt x="641" y="1926"/>
                  </a:lnTo>
                  <a:lnTo>
                    <a:pt x="649" y="1940"/>
                  </a:lnTo>
                  <a:lnTo>
                    <a:pt x="656" y="1954"/>
                  </a:lnTo>
                  <a:lnTo>
                    <a:pt x="659" y="1963"/>
                  </a:lnTo>
                  <a:lnTo>
                    <a:pt x="661" y="1970"/>
                  </a:lnTo>
                  <a:lnTo>
                    <a:pt x="662" y="1981"/>
                  </a:lnTo>
                  <a:lnTo>
                    <a:pt x="666" y="1992"/>
                  </a:lnTo>
                  <a:lnTo>
                    <a:pt x="670" y="2002"/>
                  </a:lnTo>
                  <a:lnTo>
                    <a:pt x="684" y="2012"/>
                  </a:lnTo>
                  <a:lnTo>
                    <a:pt x="696" y="2022"/>
                  </a:lnTo>
                  <a:lnTo>
                    <a:pt x="698" y="2036"/>
                  </a:lnTo>
                  <a:lnTo>
                    <a:pt x="698" y="2042"/>
                  </a:lnTo>
                  <a:lnTo>
                    <a:pt x="696" y="2043"/>
                  </a:lnTo>
                  <a:lnTo>
                    <a:pt x="693" y="2045"/>
                  </a:lnTo>
                  <a:lnTo>
                    <a:pt x="692" y="2047"/>
                  </a:lnTo>
                  <a:lnTo>
                    <a:pt x="691" y="2049"/>
                  </a:lnTo>
                  <a:lnTo>
                    <a:pt x="691" y="2052"/>
                  </a:lnTo>
                  <a:lnTo>
                    <a:pt x="692" y="2054"/>
                  </a:lnTo>
                  <a:lnTo>
                    <a:pt x="705" y="2064"/>
                  </a:lnTo>
                  <a:lnTo>
                    <a:pt x="721" y="2072"/>
                  </a:lnTo>
                  <a:lnTo>
                    <a:pt x="726" y="2078"/>
                  </a:lnTo>
                  <a:lnTo>
                    <a:pt x="733" y="2088"/>
                  </a:lnTo>
                  <a:lnTo>
                    <a:pt x="735" y="2092"/>
                  </a:lnTo>
                  <a:lnTo>
                    <a:pt x="737" y="2097"/>
                  </a:lnTo>
                  <a:lnTo>
                    <a:pt x="739" y="2102"/>
                  </a:lnTo>
                  <a:lnTo>
                    <a:pt x="739" y="2107"/>
                  </a:lnTo>
                  <a:lnTo>
                    <a:pt x="739" y="2114"/>
                  </a:lnTo>
                  <a:lnTo>
                    <a:pt x="740" y="2118"/>
                  </a:lnTo>
                  <a:lnTo>
                    <a:pt x="742" y="2122"/>
                  </a:lnTo>
                  <a:lnTo>
                    <a:pt x="746" y="2127"/>
                  </a:lnTo>
                  <a:lnTo>
                    <a:pt x="759" y="2132"/>
                  </a:lnTo>
                  <a:lnTo>
                    <a:pt x="771" y="2137"/>
                  </a:lnTo>
                  <a:lnTo>
                    <a:pt x="777" y="2141"/>
                  </a:lnTo>
                  <a:lnTo>
                    <a:pt x="780" y="2141"/>
                  </a:lnTo>
                  <a:lnTo>
                    <a:pt x="781" y="2142"/>
                  </a:lnTo>
                  <a:lnTo>
                    <a:pt x="782" y="2143"/>
                  </a:lnTo>
                  <a:lnTo>
                    <a:pt x="783" y="2144"/>
                  </a:lnTo>
                  <a:lnTo>
                    <a:pt x="783" y="2148"/>
                  </a:lnTo>
                  <a:lnTo>
                    <a:pt x="783" y="2155"/>
                  </a:lnTo>
                  <a:lnTo>
                    <a:pt x="784" y="2159"/>
                  </a:lnTo>
                  <a:lnTo>
                    <a:pt x="785" y="2162"/>
                  </a:lnTo>
                  <a:lnTo>
                    <a:pt x="787" y="2163"/>
                  </a:lnTo>
                  <a:lnTo>
                    <a:pt x="791" y="2163"/>
                  </a:lnTo>
                  <a:lnTo>
                    <a:pt x="796" y="2161"/>
                  </a:lnTo>
                  <a:lnTo>
                    <a:pt x="799" y="2159"/>
                  </a:lnTo>
                  <a:lnTo>
                    <a:pt x="801" y="2157"/>
                  </a:lnTo>
                  <a:lnTo>
                    <a:pt x="802" y="2154"/>
                  </a:lnTo>
                  <a:lnTo>
                    <a:pt x="801" y="2151"/>
                  </a:lnTo>
                  <a:lnTo>
                    <a:pt x="799" y="2144"/>
                  </a:lnTo>
                  <a:lnTo>
                    <a:pt x="795" y="2138"/>
                  </a:lnTo>
                  <a:lnTo>
                    <a:pt x="790" y="2133"/>
                  </a:lnTo>
                  <a:lnTo>
                    <a:pt x="783" y="2126"/>
                  </a:lnTo>
                  <a:lnTo>
                    <a:pt x="776" y="2115"/>
                  </a:lnTo>
                  <a:lnTo>
                    <a:pt x="768" y="2104"/>
                  </a:lnTo>
                  <a:lnTo>
                    <a:pt x="763" y="2093"/>
                  </a:lnTo>
                  <a:lnTo>
                    <a:pt x="761" y="2086"/>
                  </a:lnTo>
                  <a:lnTo>
                    <a:pt x="759" y="2081"/>
                  </a:lnTo>
                  <a:lnTo>
                    <a:pt x="757" y="2077"/>
                  </a:lnTo>
                  <a:lnTo>
                    <a:pt x="754" y="2074"/>
                  </a:lnTo>
                  <a:lnTo>
                    <a:pt x="752" y="2073"/>
                  </a:lnTo>
                  <a:lnTo>
                    <a:pt x="744" y="2062"/>
                  </a:lnTo>
                  <a:lnTo>
                    <a:pt x="728" y="2040"/>
                  </a:lnTo>
                  <a:lnTo>
                    <a:pt x="713" y="2018"/>
                  </a:lnTo>
                  <a:lnTo>
                    <a:pt x="705" y="2007"/>
                  </a:lnTo>
                  <a:lnTo>
                    <a:pt x="702" y="2001"/>
                  </a:lnTo>
                  <a:lnTo>
                    <a:pt x="697" y="1991"/>
                  </a:lnTo>
                  <a:lnTo>
                    <a:pt x="696" y="1986"/>
                  </a:lnTo>
                  <a:lnTo>
                    <a:pt x="694" y="1981"/>
                  </a:lnTo>
                  <a:lnTo>
                    <a:pt x="694" y="1977"/>
                  </a:lnTo>
                  <a:lnTo>
                    <a:pt x="696" y="1974"/>
                  </a:lnTo>
                  <a:lnTo>
                    <a:pt x="701" y="1970"/>
                  </a:lnTo>
                  <a:lnTo>
                    <a:pt x="705" y="1968"/>
                  </a:lnTo>
                  <a:lnTo>
                    <a:pt x="707" y="1967"/>
                  </a:lnTo>
                  <a:lnTo>
                    <a:pt x="710" y="1968"/>
                  </a:lnTo>
                  <a:lnTo>
                    <a:pt x="713" y="1970"/>
                  </a:lnTo>
                  <a:lnTo>
                    <a:pt x="715" y="1975"/>
                  </a:lnTo>
                  <a:lnTo>
                    <a:pt x="720" y="1985"/>
                  </a:lnTo>
                  <a:lnTo>
                    <a:pt x="725" y="1996"/>
                  </a:lnTo>
                  <a:lnTo>
                    <a:pt x="727" y="1999"/>
                  </a:lnTo>
                  <a:lnTo>
                    <a:pt x="728" y="2003"/>
                  </a:lnTo>
                  <a:lnTo>
                    <a:pt x="728" y="2007"/>
                  </a:lnTo>
                  <a:lnTo>
                    <a:pt x="729" y="2011"/>
                  </a:lnTo>
                  <a:lnTo>
                    <a:pt x="729" y="2017"/>
                  </a:lnTo>
                  <a:lnTo>
                    <a:pt x="730" y="2021"/>
                  </a:lnTo>
                  <a:lnTo>
                    <a:pt x="734" y="2025"/>
                  </a:lnTo>
                  <a:lnTo>
                    <a:pt x="739" y="2029"/>
                  </a:lnTo>
                  <a:lnTo>
                    <a:pt x="745" y="2035"/>
                  </a:lnTo>
                  <a:lnTo>
                    <a:pt x="751" y="2043"/>
                  </a:lnTo>
                  <a:lnTo>
                    <a:pt x="759" y="2051"/>
                  </a:lnTo>
                  <a:lnTo>
                    <a:pt x="766" y="2061"/>
                  </a:lnTo>
                  <a:lnTo>
                    <a:pt x="778" y="2077"/>
                  </a:lnTo>
                  <a:lnTo>
                    <a:pt x="785" y="2088"/>
                  </a:lnTo>
                  <a:lnTo>
                    <a:pt x="789" y="2093"/>
                  </a:lnTo>
                  <a:lnTo>
                    <a:pt x="796" y="2100"/>
                  </a:lnTo>
                  <a:lnTo>
                    <a:pt x="807" y="2109"/>
                  </a:lnTo>
                  <a:lnTo>
                    <a:pt x="817" y="2119"/>
                  </a:lnTo>
                  <a:lnTo>
                    <a:pt x="828" y="2128"/>
                  </a:lnTo>
                  <a:lnTo>
                    <a:pt x="836" y="2136"/>
                  </a:lnTo>
                  <a:lnTo>
                    <a:pt x="844" y="2144"/>
                  </a:lnTo>
                  <a:lnTo>
                    <a:pt x="851" y="2155"/>
                  </a:lnTo>
                  <a:lnTo>
                    <a:pt x="858" y="2166"/>
                  </a:lnTo>
                  <a:lnTo>
                    <a:pt x="867" y="2175"/>
                  </a:lnTo>
                  <a:lnTo>
                    <a:pt x="871" y="2179"/>
                  </a:lnTo>
                  <a:lnTo>
                    <a:pt x="873" y="2182"/>
                  </a:lnTo>
                  <a:lnTo>
                    <a:pt x="874" y="2186"/>
                  </a:lnTo>
                  <a:lnTo>
                    <a:pt x="873" y="2192"/>
                  </a:lnTo>
                  <a:lnTo>
                    <a:pt x="870" y="2200"/>
                  </a:lnTo>
                  <a:lnTo>
                    <a:pt x="867" y="2206"/>
                  </a:lnTo>
                  <a:lnTo>
                    <a:pt x="866" y="2208"/>
                  </a:lnTo>
                  <a:lnTo>
                    <a:pt x="865" y="2211"/>
                  </a:lnTo>
                  <a:lnTo>
                    <a:pt x="865" y="2212"/>
                  </a:lnTo>
                  <a:lnTo>
                    <a:pt x="866" y="2215"/>
                  </a:lnTo>
                  <a:lnTo>
                    <a:pt x="870" y="2222"/>
                  </a:lnTo>
                  <a:lnTo>
                    <a:pt x="879" y="2231"/>
                  </a:lnTo>
                  <a:lnTo>
                    <a:pt x="893" y="2244"/>
                  </a:lnTo>
                  <a:lnTo>
                    <a:pt x="908" y="2255"/>
                  </a:lnTo>
                  <a:lnTo>
                    <a:pt x="916" y="2262"/>
                  </a:lnTo>
                  <a:lnTo>
                    <a:pt x="927" y="2267"/>
                  </a:lnTo>
                  <a:lnTo>
                    <a:pt x="939" y="2273"/>
                  </a:lnTo>
                  <a:lnTo>
                    <a:pt x="953" y="2278"/>
                  </a:lnTo>
                  <a:lnTo>
                    <a:pt x="978" y="2289"/>
                  </a:lnTo>
                  <a:lnTo>
                    <a:pt x="997" y="2297"/>
                  </a:lnTo>
                  <a:lnTo>
                    <a:pt x="1014" y="2307"/>
                  </a:lnTo>
                  <a:lnTo>
                    <a:pt x="1033" y="2319"/>
                  </a:lnTo>
                  <a:lnTo>
                    <a:pt x="1043" y="2324"/>
                  </a:lnTo>
                  <a:lnTo>
                    <a:pt x="1051" y="2328"/>
                  </a:lnTo>
                  <a:lnTo>
                    <a:pt x="1054" y="2329"/>
                  </a:lnTo>
                  <a:lnTo>
                    <a:pt x="1057" y="2329"/>
                  </a:lnTo>
                  <a:lnTo>
                    <a:pt x="1059" y="2329"/>
                  </a:lnTo>
                  <a:lnTo>
                    <a:pt x="1061" y="2327"/>
                  </a:lnTo>
                  <a:lnTo>
                    <a:pt x="1068" y="2318"/>
                  </a:lnTo>
                  <a:lnTo>
                    <a:pt x="1077" y="2311"/>
                  </a:lnTo>
                  <a:lnTo>
                    <a:pt x="1081" y="2307"/>
                  </a:lnTo>
                  <a:lnTo>
                    <a:pt x="1087" y="2305"/>
                  </a:lnTo>
                  <a:lnTo>
                    <a:pt x="1090" y="2304"/>
                  </a:lnTo>
                  <a:lnTo>
                    <a:pt x="1093" y="2305"/>
                  </a:lnTo>
                  <a:lnTo>
                    <a:pt x="1097" y="2309"/>
                  </a:lnTo>
                  <a:lnTo>
                    <a:pt x="1101" y="2315"/>
                  </a:lnTo>
                  <a:lnTo>
                    <a:pt x="1103" y="2317"/>
                  </a:lnTo>
                  <a:lnTo>
                    <a:pt x="1107" y="2320"/>
                  </a:lnTo>
                  <a:lnTo>
                    <a:pt x="1111" y="2322"/>
                  </a:lnTo>
                  <a:lnTo>
                    <a:pt x="1116" y="2322"/>
                  </a:lnTo>
                  <a:lnTo>
                    <a:pt x="1122" y="2324"/>
                  </a:lnTo>
                  <a:lnTo>
                    <a:pt x="1129" y="2327"/>
                  </a:lnTo>
                  <a:lnTo>
                    <a:pt x="1134" y="2330"/>
                  </a:lnTo>
                  <a:lnTo>
                    <a:pt x="1140" y="2334"/>
                  </a:lnTo>
                  <a:lnTo>
                    <a:pt x="1150" y="2343"/>
                  </a:lnTo>
                  <a:lnTo>
                    <a:pt x="1158" y="2351"/>
                  </a:lnTo>
                  <a:lnTo>
                    <a:pt x="1167" y="2358"/>
                  </a:lnTo>
                  <a:lnTo>
                    <a:pt x="1182" y="2365"/>
                  </a:lnTo>
                  <a:lnTo>
                    <a:pt x="1196" y="2372"/>
                  </a:lnTo>
                  <a:lnTo>
                    <a:pt x="1205" y="2377"/>
                  </a:lnTo>
                  <a:lnTo>
                    <a:pt x="1207" y="2377"/>
                  </a:lnTo>
                  <a:lnTo>
                    <a:pt x="1210" y="2376"/>
                  </a:lnTo>
                  <a:lnTo>
                    <a:pt x="1215" y="2375"/>
                  </a:lnTo>
                  <a:lnTo>
                    <a:pt x="1219" y="2373"/>
                  </a:lnTo>
                  <a:lnTo>
                    <a:pt x="1221" y="2373"/>
                  </a:lnTo>
                  <a:lnTo>
                    <a:pt x="1223" y="2373"/>
                  </a:lnTo>
                  <a:lnTo>
                    <a:pt x="1225" y="2373"/>
                  </a:lnTo>
                  <a:lnTo>
                    <a:pt x="1227" y="2374"/>
                  </a:lnTo>
                  <a:lnTo>
                    <a:pt x="1230" y="2376"/>
                  </a:lnTo>
                  <a:lnTo>
                    <a:pt x="1232" y="2379"/>
                  </a:lnTo>
                  <a:lnTo>
                    <a:pt x="1235" y="2383"/>
                  </a:lnTo>
                  <a:lnTo>
                    <a:pt x="1239" y="2388"/>
                  </a:lnTo>
                  <a:lnTo>
                    <a:pt x="1248" y="2407"/>
                  </a:lnTo>
                  <a:lnTo>
                    <a:pt x="1255" y="2420"/>
                  </a:lnTo>
                  <a:lnTo>
                    <a:pt x="1262" y="2428"/>
                  </a:lnTo>
                  <a:lnTo>
                    <a:pt x="1269" y="2437"/>
                  </a:lnTo>
                  <a:lnTo>
                    <a:pt x="1274" y="2443"/>
                  </a:lnTo>
                  <a:lnTo>
                    <a:pt x="1283" y="2449"/>
                  </a:lnTo>
                  <a:lnTo>
                    <a:pt x="1292" y="2457"/>
                  </a:lnTo>
                  <a:lnTo>
                    <a:pt x="1303" y="2464"/>
                  </a:lnTo>
                  <a:lnTo>
                    <a:pt x="1321" y="2476"/>
                  </a:lnTo>
                  <a:lnTo>
                    <a:pt x="1331" y="2484"/>
                  </a:lnTo>
                  <a:lnTo>
                    <a:pt x="1337" y="2489"/>
                  </a:lnTo>
                  <a:lnTo>
                    <a:pt x="1349" y="2496"/>
                  </a:lnTo>
                  <a:lnTo>
                    <a:pt x="1356" y="2499"/>
                  </a:lnTo>
                  <a:lnTo>
                    <a:pt x="1363" y="2501"/>
                  </a:lnTo>
                  <a:lnTo>
                    <a:pt x="1371" y="2501"/>
                  </a:lnTo>
                  <a:lnTo>
                    <a:pt x="1378" y="2500"/>
                  </a:lnTo>
                  <a:lnTo>
                    <a:pt x="1384" y="2496"/>
                  </a:lnTo>
                  <a:lnTo>
                    <a:pt x="1390" y="2493"/>
                  </a:lnTo>
                  <a:lnTo>
                    <a:pt x="1394" y="2490"/>
                  </a:lnTo>
                  <a:lnTo>
                    <a:pt x="1398" y="2487"/>
                  </a:lnTo>
                  <a:lnTo>
                    <a:pt x="1401" y="2485"/>
                  </a:lnTo>
                  <a:lnTo>
                    <a:pt x="1405" y="2484"/>
                  </a:lnTo>
                  <a:lnTo>
                    <a:pt x="1410" y="2485"/>
                  </a:lnTo>
                  <a:lnTo>
                    <a:pt x="1417" y="2488"/>
                  </a:lnTo>
                  <a:lnTo>
                    <a:pt x="1422" y="2491"/>
                  </a:lnTo>
                  <a:lnTo>
                    <a:pt x="1428" y="2493"/>
                  </a:lnTo>
                  <a:lnTo>
                    <a:pt x="1432" y="2494"/>
                  </a:lnTo>
                  <a:lnTo>
                    <a:pt x="1437" y="2495"/>
                  </a:lnTo>
                  <a:lnTo>
                    <a:pt x="1441" y="2496"/>
                  </a:lnTo>
                  <a:lnTo>
                    <a:pt x="1443" y="2497"/>
                  </a:lnTo>
                  <a:lnTo>
                    <a:pt x="1445" y="2501"/>
                  </a:lnTo>
                  <a:lnTo>
                    <a:pt x="1446" y="2505"/>
                  </a:lnTo>
                  <a:lnTo>
                    <a:pt x="1446" y="2510"/>
                  </a:lnTo>
                  <a:lnTo>
                    <a:pt x="1449" y="2515"/>
                  </a:lnTo>
                  <a:lnTo>
                    <a:pt x="1452" y="2521"/>
                  </a:lnTo>
                  <a:lnTo>
                    <a:pt x="1456" y="2527"/>
                  </a:lnTo>
                  <a:lnTo>
                    <a:pt x="1458" y="2533"/>
                  </a:lnTo>
                  <a:lnTo>
                    <a:pt x="1458" y="2540"/>
                  </a:lnTo>
                  <a:lnTo>
                    <a:pt x="1458" y="2545"/>
                  </a:lnTo>
                  <a:lnTo>
                    <a:pt x="1456" y="2548"/>
                  </a:lnTo>
                  <a:lnTo>
                    <a:pt x="1453" y="2552"/>
                  </a:lnTo>
                  <a:lnTo>
                    <a:pt x="1449" y="2557"/>
                  </a:lnTo>
                  <a:lnTo>
                    <a:pt x="1430" y="2577"/>
                  </a:lnTo>
                  <a:lnTo>
                    <a:pt x="1409" y="2599"/>
                  </a:lnTo>
                  <a:lnTo>
                    <a:pt x="1400" y="2610"/>
                  </a:lnTo>
                  <a:lnTo>
                    <a:pt x="1392" y="2620"/>
                  </a:lnTo>
                  <a:lnTo>
                    <a:pt x="1385" y="2627"/>
                  </a:lnTo>
                  <a:lnTo>
                    <a:pt x="1382" y="2634"/>
                  </a:lnTo>
                  <a:lnTo>
                    <a:pt x="1382" y="2640"/>
                  </a:lnTo>
                  <a:lnTo>
                    <a:pt x="1382" y="2648"/>
                  </a:lnTo>
                  <a:lnTo>
                    <a:pt x="1383" y="2657"/>
                  </a:lnTo>
                  <a:lnTo>
                    <a:pt x="1385" y="2665"/>
                  </a:lnTo>
                  <a:lnTo>
                    <a:pt x="1390" y="2681"/>
                  </a:lnTo>
                  <a:lnTo>
                    <a:pt x="1391" y="2687"/>
                  </a:lnTo>
                  <a:lnTo>
                    <a:pt x="1386" y="2691"/>
                  </a:lnTo>
                  <a:lnTo>
                    <a:pt x="1377" y="2702"/>
                  </a:lnTo>
                  <a:lnTo>
                    <a:pt x="1373" y="2708"/>
                  </a:lnTo>
                  <a:lnTo>
                    <a:pt x="1370" y="2715"/>
                  </a:lnTo>
                  <a:lnTo>
                    <a:pt x="1369" y="2720"/>
                  </a:lnTo>
                  <a:lnTo>
                    <a:pt x="1369" y="2723"/>
                  </a:lnTo>
                  <a:lnTo>
                    <a:pt x="1369" y="2727"/>
                  </a:lnTo>
                  <a:lnTo>
                    <a:pt x="1370" y="2730"/>
                  </a:lnTo>
                  <a:lnTo>
                    <a:pt x="1375" y="2736"/>
                  </a:lnTo>
                  <a:lnTo>
                    <a:pt x="1382" y="2745"/>
                  </a:lnTo>
                  <a:lnTo>
                    <a:pt x="1391" y="2753"/>
                  </a:lnTo>
                  <a:lnTo>
                    <a:pt x="1401" y="2763"/>
                  </a:lnTo>
                  <a:lnTo>
                    <a:pt x="1412" y="2773"/>
                  </a:lnTo>
                  <a:lnTo>
                    <a:pt x="1422" y="2786"/>
                  </a:lnTo>
                  <a:lnTo>
                    <a:pt x="1427" y="2793"/>
                  </a:lnTo>
                  <a:lnTo>
                    <a:pt x="1431" y="2800"/>
                  </a:lnTo>
                  <a:lnTo>
                    <a:pt x="1436" y="2809"/>
                  </a:lnTo>
                  <a:lnTo>
                    <a:pt x="1439" y="2817"/>
                  </a:lnTo>
                  <a:lnTo>
                    <a:pt x="1444" y="2833"/>
                  </a:lnTo>
                  <a:lnTo>
                    <a:pt x="1449" y="2845"/>
                  </a:lnTo>
                  <a:lnTo>
                    <a:pt x="1453" y="2855"/>
                  </a:lnTo>
                  <a:lnTo>
                    <a:pt x="1458" y="2862"/>
                  </a:lnTo>
                  <a:lnTo>
                    <a:pt x="1468" y="2875"/>
                  </a:lnTo>
                  <a:lnTo>
                    <a:pt x="1483" y="2890"/>
                  </a:lnTo>
                  <a:lnTo>
                    <a:pt x="1489" y="2896"/>
                  </a:lnTo>
                  <a:lnTo>
                    <a:pt x="1495" y="2900"/>
                  </a:lnTo>
                  <a:lnTo>
                    <a:pt x="1504" y="2904"/>
                  </a:lnTo>
                  <a:lnTo>
                    <a:pt x="1512" y="2908"/>
                  </a:lnTo>
                  <a:lnTo>
                    <a:pt x="1531" y="2916"/>
                  </a:lnTo>
                  <a:lnTo>
                    <a:pt x="1550" y="2923"/>
                  </a:lnTo>
                  <a:lnTo>
                    <a:pt x="1569" y="2930"/>
                  </a:lnTo>
                  <a:lnTo>
                    <a:pt x="1583" y="2938"/>
                  </a:lnTo>
                  <a:lnTo>
                    <a:pt x="1589" y="2941"/>
                  </a:lnTo>
                  <a:lnTo>
                    <a:pt x="1593" y="2944"/>
                  </a:lnTo>
                  <a:lnTo>
                    <a:pt x="1595" y="2948"/>
                  </a:lnTo>
                  <a:lnTo>
                    <a:pt x="1596" y="2951"/>
                  </a:lnTo>
                  <a:lnTo>
                    <a:pt x="1594" y="2964"/>
                  </a:lnTo>
                  <a:lnTo>
                    <a:pt x="1593" y="2976"/>
                  </a:lnTo>
                  <a:lnTo>
                    <a:pt x="1593" y="2988"/>
                  </a:lnTo>
                  <a:lnTo>
                    <a:pt x="1595" y="2997"/>
                  </a:lnTo>
                  <a:lnTo>
                    <a:pt x="1597" y="3004"/>
                  </a:lnTo>
                  <a:lnTo>
                    <a:pt x="1598" y="3007"/>
                  </a:lnTo>
                  <a:lnTo>
                    <a:pt x="1598" y="3010"/>
                  </a:lnTo>
                  <a:lnTo>
                    <a:pt x="1597" y="3012"/>
                  </a:lnTo>
                  <a:lnTo>
                    <a:pt x="1594" y="3021"/>
                  </a:lnTo>
                  <a:lnTo>
                    <a:pt x="1591" y="3034"/>
                  </a:lnTo>
                  <a:lnTo>
                    <a:pt x="1590" y="3048"/>
                  </a:lnTo>
                  <a:lnTo>
                    <a:pt x="1588" y="3056"/>
                  </a:lnTo>
                  <a:lnTo>
                    <a:pt x="1585" y="3063"/>
                  </a:lnTo>
                  <a:lnTo>
                    <a:pt x="1582" y="3076"/>
                  </a:lnTo>
                  <a:lnTo>
                    <a:pt x="1581" y="3087"/>
                  </a:lnTo>
                  <a:lnTo>
                    <a:pt x="1580" y="3093"/>
                  </a:lnTo>
                  <a:lnTo>
                    <a:pt x="1576" y="3093"/>
                  </a:lnTo>
                  <a:lnTo>
                    <a:pt x="1569" y="3092"/>
                  </a:lnTo>
                  <a:lnTo>
                    <a:pt x="1564" y="3092"/>
                  </a:lnTo>
                  <a:lnTo>
                    <a:pt x="1561" y="3093"/>
                  </a:lnTo>
                  <a:lnTo>
                    <a:pt x="1559" y="3094"/>
                  </a:lnTo>
                  <a:lnTo>
                    <a:pt x="1559" y="3096"/>
                  </a:lnTo>
                  <a:lnTo>
                    <a:pt x="1569" y="3102"/>
                  </a:lnTo>
                  <a:lnTo>
                    <a:pt x="1578" y="3107"/>
                  </a:lnTo>
                  <a:lnTo>
                    <a:pt x="1579" y="3112"/>
                  </a:lnTo>
                  <a:lnTo>
                    <a:pt x="1578" y="3118"/>
                  </a:lnTo>
                  <a:lnTo>
                    <a:pt x="1577" y="3122"/>
                  </a:lnTo>
                  <a:lnTo>
                    <a:pt x="1576" y="3125"/>
                  </a:lnTo>
                  <a:lnTo>
                    <a:pt x="1571" y="3130"/>
                  </a:lnTo>
                  <a:lnTo>
                    <a:pt x="1566" y="3134"/>
                  </a:lnTo>
                  <a:lnTo>
                    <a:pt x="1566" y="3143"/>
                  </a:lnTo>
                  <a:lnTo>
                    <a:pt x="1569" y="3154"/>
                  </a:lnTo>
                  <a:lnTo>
                    <a:pt x="1571" y="3158"/>
                  </a:lnTo>
                  <a:lnTo>
                    <a:pt x="1571" y="3160"/>
                  </a:lnTo>
                  <a:lnTo>
                    <a:pt x="1571" y="3162"/>
                  </a:lnTo>
                  <a:lnTo>
                    <a:pt x="1570" y="3164"/>
                  </a:lnTo>
                  <a:lnTo>
                    <a:pt x="1568" y="3171"/>
                  </a:lnTo>
                  <a:lnTo>
                    <a:pt x="1566" y="3178"/>
                  </a:lnTo>
                  <a:lnTo>
                    <a:pt x="1559" y="3190"/>
                  </a:lnTo>
                  <a:lnTo>
                    <a:pt x="1550" y="3206"/>
                  </a:lnTo>
                  <a:lnTo>
                    <a:pt x="1544" y="3212"/>
                  </a:lnTo>
                  <a:lnTo>
                    <a:pt x="1540" y="3216"/>
                  </a:lnTo>
                  <a:lnTo>
                    <a:pt x="1538" y="3219"/>
                  </a:lnTo>
                  <a:lnTo>
                    <a:pt x="1537" y="3221"/>
                  </a:lnTo>
                  <a:lnTo>
                    <a:pt x="1540" y="3224"/>
                  </a:lnTo>
                  <a:lnTo>
                    <a:pt x="1542" y="3225"/>
                  </a:lnTo>
                  <a:lnTo>
                    <a:pt x="1544" y="3226"/>
                  </a:lnTo>
                  <a:lnTo>
                    <a:pt x="1545" y="3227"/>
                  </a:lnTo>
                  <a:lnTo>
                    <a:pt x="1545" y="3227"/>
                  </a:lnTo>
                  <a:lnTo>
                    <a:pt x="1544" y="3228"/>
                  </a:lnTo>
                  <a:lnTo>
                    <a:pt x="1541" y="3230"/>
                  </a:lnTo>
                  <a:lnTo>
                    <a:pt x="1539" y="3230"/>
                  </a:lnTo>
                  <a:lnTo>
                    <a:pt x="1538" y="3231"/>
                  </a:lnTo>
                  <a:lnTo>
                    <a:pt x="1538" y="3233"/>
                  </a:lnTo>
                  <a:lnTo>
                    <a:pt x="1544" y="3239"/>
                  </a:lnTo>
                  <a:lnTo>
                    <a:pt x="1547" y="3246"/>
                  </a:lnTo>
                  <a:lnTo>
                    <a:pt x="1541" y="3251"/>
                  </a:lnTo>
                  <a:lnTo>
                    <a:pt x="1535" y="3256"/>
                  </a:lnTo>
                  <a:lnTo>
                    <a:pt x="1536" y="3260"/>
                  </a:lnTo>
                  <a:lnTo>
                    <a:pt x="1536" y="3271"/>
                  </a:lnTo>
                  <a:lnTo>
                    <a:pt x="1536" y="3277"/>
                  </a:lnTo>
                  <a:lnTo>
                    <a:pt x="1537" y="3283"/>
                  </a:lnTo>
                  <a:lnTo>
                    <a:pt x="1537" y="3285"/>
                  </a:lnTo>
                  <a:lnTo>
                    <a:pt x="1536" y="3289"/>
                  </a:lnTo>
                  <a:lnTo>
                    <a:pt x="1535" y="3291"/>
                  </a:lnTo>
                  <a:lnTo>
                    <a:pt x="1533" y="3292"/>
                  </a:lnTo>
                  <a:lnTo>
                    <a:pt x="1528" y="3295"/>
                  </a:lnTo>
                  <a:lnTo>
                    <a:pt x="1523" y="3297"/>
                  </a:lnTo>
                  <a:lnTo>
                    <a:pt x="1520" y="3298"/>
                  </a:lnTo>
                  <a:lnTo>
                    <a:pt x="1519" y="3299"/>
                  </a:lnTo>
                  <a:lnTo>
                    <a:pt x="1519" y="3301"/>
                  </a:lnTo>
                  <a:lnTo>
                    <a:pt x="1523" y="3304"/>
                  </a:lnTo>
                  <a:lnTo>
                    <a:pt x="1527" y="3308"/>
                  </a:lnTo>
                  <a:lnTo>
                    <a:pt x="1529" y="3312"/>
                  </a:lnTo>
                  <a:lnTo>
                    <a:pt x="1529" y="3314"/>
                  </a:lnTo>
                  <a:lnTo>
                    <a:pt x="1528" y="3315"/>
                  </a:lnTo>
                  <a:lnTo>
                    <a:pt x="1526" y="3316"/>
                  </a:lnTo>
                  <a:lnTo>
                    <a:pt x="1523" y="3316"/>
                  </a:lnTo>
                  <a:lnTo>
                    <a:pt x="1522" y="3316"/>
                  </a:lnTo>
                  <a:lnTo>
                    <a:pt x="1522" y="3316"/>
                  </a:lnTo>
                  <a:lnTo>
                    <a:pt x="1520" y="3317"/>
                  </a:lnTo>
                  <a:lnTo>
                    <a:pt x="1522" y="3319"/>
                  </a:lnTo>
                  <a:lnTo>
                    <a:pt x="1523" y="3321"/>
                  </a:lnTo>
                  <a:lnTo>
                    <a:pt x="1525" y="3323"/>
                  </a:lnTo>
                  <a:lnTo>
                    <a:pt x="1525" y="3323"/>
                  </a:lnTo>
                  <a:lnTo>
                    <a:pt x="1526" y="3324"/>
                  </a:lnTo>
                  <a:lnTo>
                    <a:pt x="1525" y="3325"/>
                  </a:lnTo>
                  <a:lnTo>
                    <a:pt x="1524" y="3327"/>
                  </a:lnTo>
                  <a:lnTo>
                    <a:pt x="1517" y="3329"/>
                  </a:lnTo>
                  <a:lnTo>
                    <a:pt x="1511" y="3333"/>
                  </a:lnTo>
                  <a:lnTo>
                    <a:pt x="1509" y="3334"/>
                  </a:lnTo>
                  <a:lnTo>
                    <a:pt x="1508" y="3336"/>
                  </a:lnTo>
                  <a:lnTo>
                    <a:pt x="1509" y="3338"/>
                  </a:lnTo>
                  <a:lnTo>
                    <a:pt x="1511" y="3341"/>
                  </a:lnTo>
                  <a:lnTo>
                    <a:pt x="1514" y="3343"/>
                  </a:lnTo>
                  <a:lnTo>
                    <a:pt x="1515" y="3344"/>
                  </a:lnTo>
                  <a:lnTo>
                    <a:pt x="1516" y="3344"/>
                  </a:lnTo>
                  <a:lnTo>
                    <a:pt x="1517" y="3344"/>
                  </a:lnTo>
                  <a:lnTo>
                    <a:pt x="1518" y="3340"/>
                  </a:lnTo>
                  <a:lnTo>
                    <a:pt x="1522" y="3337"/>
                  </a:lnTo>
                  <a:lnTo>
                    <a:pt x="1526" y="3335"/>
                  </a:lnTo>
                  <a:lnTo>
                    <a:pt x="1529" y="3334"/>
                  </a:lnTo>
                  <a:lnTo>
                    <a:pt x="1530" y="3335"/>
                  </a:lnTo>
                  <a:lnTo>
                    <a:pt x="1531" y="3336"/>
                  </a:lnTo>
                  <a:lnTo>
                    <a:pt x="1530" y="3337"/>
                  </a:lnTo>
                  <a:lnTo>
                    <a:pt x="1530" y="3339"/>
                  </a:lnTo>
                  <a:lnTo>
                    <a:pt x="1525" y="3344"/>
                  </a:lnTo>
                  <a:lnTo>
                    <a:pt x="1520" y="3347"/>
                  </a:lnTo>
                  <a:lnTo>
                    <a:pt x="1525" y="3353"/>
                  </a:lnTo>
                  <a:lnTo>
                    <a:pt x="1528" y="3360"/>
                  </a:lnTo>
                  <a:lnTo>
                    <a:pt x="1524" y="3362"/>
                  </a:lnTo>
                  <a:lnTo>
                    <a:pt x="1520" y="3366"/>
                  </a:lnTo>
                  <a:lnTo>
                    <a:pt x="1523" y="3370"/>
                  </a:lnTo>
                  <a:lnTo>
                    <a:pt x="1526" y="3372"/>
                  </a:lnTo>
                  <a:lnTo>
                    <a:pt x="1524" y="3375"/>
                  </a:lnTo>
                  <a:lnTo>
                    <a:pt x="1522" y="3378"/>
                  </a:lnTo>
                  <a:lnTo>
                    <a:pt x="1525" y="3380"/>
                  </a:lnTo>
                  <a:lnTo>
                    <a:pt x="1528" y="3382"/>
                  </a:lnTo>
                  <a:lnTo>
                    <a:pt x="1535" y="3385"/>
                  </a:lnTo>
                  <a:lnTo>
                    <a:pt x="1550" y="3391"/>
                  </a:lnTo>
                  <a:lnTo>
                    <a:pt x="1566" y="3399"/>
                  </a:lnTo>
                  <a:lnTo>
                    <a:pt x="1576" y="3402"/>
                  </a:lnTo>
                  <a:lnTo>
                    <a:pt x="1580" y="3403"/>
                  </a:lnTo>
                  <a:lnTo>
                    <a:pt x="1582" y="3404"/>
                  </a:lnTo>
                  <a:lnTo>
                    <a:pt x="1583" y="3405"/>
                  </a:lnTo>
                  <a:lnTo>
                    <a:pt x="1582" y="3406"/>
                  </a:lnTo>
                  <a:lnTo>
                    <a:pt x="1584" y="3406"/>
                  </a:lnTo>
                  <a:lnTo>
                    <a:pt x="1584" y="3406"/>
                  </a:lnTo>
                  <a:lnTo>
                    <a:pt x="1586" y="3407"/>
                  </a:lnTo>
                  <a:lnTo>
                    <a:pt x="1590" y="3407"/>
                  </a:lnTo>
                  <a:lnTo>
                    <a:pt x="1595" y="3408"/>
                  </a:lnTo>
                  <a:lnTo>
                    <a:pt x="1610" y="3409"/>
                  </a:lnTo>
                  <a:lnTo>
                    <a:pt x="1625" y="3410"/>
                  </a:lnTo>
                  <a:lnTo>
                    <a:pt x="1639" y="3411"/>
                  </a:lnTo>
                  <a:lnTo>
                    <a:pt x="1649" y="3413"/>
                  </a:lnTo>
                  <a:lnTo>
                    <a:pt x="1656" y="3413"/>
                  </a:lnTo>
                  <a:lnTo>
                    <a:pt x="1659" y="3412"/>
                  </a:lnTo>
                  <a:lnTo>
                    <a:pt x="1663" y="3411"/>
                  </a:lnTo>
                  <a:lnTo>
                    <a:pt x="1671" y="3408"/>
                  </a:lnTo>
                  <a:lnTo>
                    <a:pt x="1685" y="3405"/>
                  </a:lnTo>
                  <a:lnTo>
                    <a:pt x="1693" y="3406"/>
                  </a:lnTo>
                  <a:lnTo>
                    <a:pt x="1699" y="3406"/>
                  </a:lnTo>
                  <a:lnTo>
                    <a:pt x="1703" y="3406"/>
                  </a:lnTo>
                  <a:lnTo>
                    <a:pt x="1708" y="3406"/>
                  </a:lnTo>
                  <a:lnTo>
                    <a:pt x="1713" y="3405"/>
                  </a:lnTo>
                  <a:lnTo>
                    <a:pt x="1713" y="3405"/>
                  </a:lnTo>
                  <a:close/>
                  <a:moveTo>
                    <a:pt x="2792" y="423"/>
                  </a:moveTo>
                  <a:lnTo>
                    <a:pt x="2810" y="439"/>
                  </a:lnTo>
                  <a:lnTo>
                    <a:pt x="2828" y="455"/>
                  </a:lnTo>
                  <a:lnTo>
                    <a:pt x="2845" y="471"/>
                  </a:lnTo>
                  <a:lnTo>
                    <a:pt x="2862" y="488"/>
                  </a:lnTo>
                  <a:lnTo>
                    <a:pt x="2863" y="489"/>
                  </a:lnTo>
                  <a:lnTo>
                    <a:pt x="2863" y="489"/>
                  </a:lnTo>
                  <a:lnTo>
                    <a:pt x="2863" y="490"/>
                  </a:lnTo>
                  <a:lnTo>
                    <a:pt x="2875" y="503"/>
                  </a:lnTo>
                  <a:lnTo>
                    <a:pt x="2888" y="515"/>
                  </a:lnTo>
                  <a:lnTo>
                    <a:pt x="2896" y="523"/>
                  </a:lnTo>
                  <a:lnTo>
                    <a:pt x="2904" y="531"/>
                  </a:lnTo>
                  <a:lnTo>
                    <a:pt x="2906" y="534"/>
                  </a:lnTo>
                  <a:lnTo>
                    <a:pt x="2909" y="537"/>
                  </a:lnTo>
                  <a:lnTo>
                    <a:pt x="2915" y="544"/>
                  </a:lnTo>
                  <a:lnTo>
                    <a:pt x="2922" y="552"/>
                  </a:lnTo>
                  <a:lnTo>
                    <a:pt x="2929" y="559"/>
                  </a:lnTo>
                  <a:lnTo>
                    <a:pt x="2932" y="564"/>
                  </a:lnTo>
                  <a:lnTo>
                    <a:pt x="2935" y="567"/>
                  </a:lnTo>
                  <a:lnTo>
                    <a:pt x="2937" y="571"/>
                  </a:lnTo>
                  <a:lnTo>
                    <a:pt x="2937" y="573"/>
                  </a:lnTo>
                  <a:lnTo>
                    <a:pt x="2937" y="573"/>
                  </a:lnTo>
                  <a:lnTo>
                    <a:pt x="2937" y="573"/>
                  </a:lnTo>
                  <a:lnTo>
                    <a:pt x="2936" y="573"/>
                  </a:lnTo>
                  <a:lnTo>
                    <a:pt x="2932" y="566"/>
                  </a:lnTo>
                  <a:lnTo>
                    <a:pt x="2928" y="559"/>
                  </a:lnTo>
                  <a:lnTo>
                    <a:pt x="2921" y="555"/>
                  </a:lnTo>
                  <a:lnTo>
                    <a:pt x="2913" y="548"/>
                  </a:lnTo>
                  <a:lnTo>
                    <a:pt x="2906" y="539"/>
                  </a:lnTo>
                  <a:lnTo>
                    <a:pt x="2902" y="533"/>
                  </a:lnTo>
                  <a:lnTo>
                    <a:pt x="2896" y="526"/>
                  </a:lnTo>
                  <a:lnTo>
                    <a:pt x="2891" y="520"/>
                  </a:lnTo>
                  <a:lnTo>
                    <a:pt x="2884" y="513"/>
                  </a:lnTo>
                  <a:lnTo>
                    <a:pt x="2873" y="501"/>
                  </a:lnTo>
                  <a:lnTo>
                    <a:pt x="2875" y="506"/>
                  </a:lnTo>
                  <a:lnTo>
                    <a:pt x="2885" y="520"/>
                  </a:lnTo>
                  <a:lnTo>
                    <a:pt x="2895" y="537"/>
                  </a:lnTo>
                  <a:lnTo>
                    <a:pt x="2902" y="548"/>
                  </a:lnTo>
                  <a:lnTo>
                    <a:pt x="2905" y="552"/>
                  </a:lnTo>
                  <a:lnTo>
                    <a:pt x="2905" y="555"/>
                  </a:lnTo>
                  <a:lnTo>
                    <a:pt x="2902" y="555"/>
                  </a:lnTo>
                  <a:lnTo>
                    <a:pt x="2898" y="551"/>
                  </a:lnTo>
                  <a:lnTo>
                    <a:pt x="2889" y="541"/>
                  </a:lnTo>
                  <a:lnTo>
                    <a:pt x="2876" y="528"/>
                  </a:lnTo>
                  <a:lnTo>
                    <a:pt x="2863" y="513"/>
                  </a:lnTo>
                  <a:lnTo>
                    <a:pt x="2854" y="504"/>
                  </a:lnTo>
                  <a:lnTo>
                    <a:pt x="2852" y="501"/>
                  </a:lnTo>
                  <a:lnTo>
                    <a:pt x="2851" y="499"/>
                  </a:lnTo>
                  <a:lnTo>
                    <a:pt x="2852" y="499"/>
                  </a:lnTo>
                  <a:lnTo>
                    <a:pt x="2853" y="499"/>
                  </a:lnTo>
                  <a:lnTo>
                    <a:pt x="2855" y="499"/>
                  </a:lnTo>
                  <a:lnTo>
                    <a:pt x="2856" y="499"/>
                  </a:lnTo>
                  <a:lnTo>
                    <a:pt x="2857" y="499"/>
                  </a:lnTo>
                  <a:lnTo>
                    <a:pt x="2857" y="498"/>
                  </a:lnTo>
                  <a:lnTo>
                    <a:pt x="2849" y="490"/>
                  </a:lnTo>
                  <a:lnTo>
                    <a:pt x="2839" y="481"/>
                  </a:lnTo>
                  <a:lnTo>
                    <a:pt x="2834" y="475"/>
                  </a:lnTo>
                  <a:lnTo>
                    <a:pt x="2834" y="474"/>
                  </a:lnTo>
                  <a:lnTo>
                    <a:pt x="2836" y="474"/>
                  </a:lnTo>
                  <a:lnTo>
                    <a:pt x="2837" y="474"/>
                  </a:lnTo>
                  <a:lnTo>
                    <a:pt x="2837" y="474"/>
                  </a:lnTo>
                  <a:lnTo>
                    <a:pt x="2840" y="475"/>
                  </a:lnTo>
                  <a:lnTo>
                    <a:pt x="2841" y="475"/>
                  </a:lnTo>
                  <a:lnTo>
                    <a:pt x="2842" y="475"/>
                  </a:lnTo>
                  <a:lnTo>
                    <a:pt x="2841" y="474"/>
                  </a:lnTo>
                  <a:lnTo>
                    <a:pt x="2840" y="472"/>
                  </a:lnTo>
                  <a:lnTo>
                    <a:pt x="2832" y="468"/>
                  </a:lnTo>
                  <a:lnTo>
                    <a:pt x="2826" y="466"/>
                  </a:lnTo>
                  <a:lnTo>
                    <a:pt x="2819" y="459"/>
                  </a:lnTo>
                  <a:lnTo>
                    <a:pt x="2809" y="449"/>
                  </a:lnTo>
                  <a:lnTo>
                    <a:pt x="2808" y="449"/>
                  </a:lnTo>
                  <a:lnTo>
                    <a:pt x="2813" y="457"/>
                  </a:lnTo>
                  <a:lnTo>
                    <a:pt x="2812" y="456"/>
                  </a:lnTo>
                  <a:lnTo>
                    <a:pt x="2806" y="450"/>
                  </a:lnTo>
                  <a:lnTo>
                    <a:pt x="2798" y="441"/>
                  </a:lnTo>
                  <a:lnTo>
                    <a:pt x="2790" y="431"/>
                  </a:lnTo>
                  <a:lnTo>
                    <a:pt x="2788" y="430"/>
                  </a:lnTo>
                  <a:lnTo>
                    <a:pt x="2785" y="427"/>
                  </a:lnTo>
                  <a:lnTo>
                    <a:pt x="2782" y="425"/>
                  </a:lnTo>
                  <a:lnTo>
                    <a:pt x="2779" y="421"/>
                  </a:lnTo>
                  <a:lnTo>
                    <a:pt x="2785" y="426"/>
                  </a:lnTo>
                  <a:lnTo>
                    <a:pt x="2790" y="429"/>
                  </a:lnTo>
                  <a:lnTo>
                    <a:pt x="2782" y="421"/>
                  </a:lnTo>
                  <a:lnTo>
                    <a:pt x="2770" y="409"/>
                  </a:lnTo>
                  <a:lnTo>
                    <a:pt x="2759" y="399"/>
                  </a:lnTo>
                  <a:lnTo>
                    <a:pt x="2749" y="389"/>
                  </a:lnTo>
                  <a:lnTo>
                    <a:pt x="2751" y="388"/>
                  </a:lnTo>
                  <a:lnTo>
                    <a:pt x="2758" y="394"/>
                  </a:lnTo>
                  <a:lnTo>
                    <a:pt x="2767" y="402"/>
                  </a:lnTo>
                  <a:lnTo>
                    <a:pt x="2775" y="407"/>
                  </a:lnTo>
                  <a:lnTo>
                    <a:pt x="2788" y="420"/>
                  </a:lnTo>
                  <a:lnTo>
                    <a:pt x="2795" y="425"/>
                  </a:lnTo>
                  <a:lnTo>
                    <a:pt x="2793" y="424"/>
                  </a:lnTo>
                  <a:lnTo>
                    <a:pt x="2792" y="423"/>
                  </a:lnTo>
                  <a:close/>
                  <a:moveTo>
                    <a:pt x="3239" y="1053"/>
                  </a:moveTo>
                  <a:lnTo>
                    <a:pt x="3253" y="1090"/>
                  </a:lnTo>
                  <a:lnTo>
                    <a:pt x="3268" y="1129"/>
                  </a:lnTo>
                  <a:lnTo>
                    <a:pt x="3281" y="1168"/>
                  </a:lnTo>
                  <a:lnTo>
                    <a:pt x="3293" y="1208"/>
                  </a:lnTo>
                  <a:lnTo>
                    <a:pt x="3305" y="1247"/>
                  </a:lnTo>
                  <a:lnTo>
                    <a:pt x="3315" y="1287"/>
                  </a:lnTo>
                  <a:lnTo>
                    <a:pt x="3326" y="1328"/>
                  </a:lnTo>
                  <a:lnTo>
                    <a:pt x="3334" y="1369"/>
                  </a:lnTo>
                  <a:lnTo>
                    <a:pt x="3341" y="1410"/>
                  </a:lnTo>
                  <a:lnTo>
                    <a:pt x="3349" y="1452"/>
                  </a:lnTo>
                  <a:lnTo>
                    <a:pt x="3354" y="1494"/>
                  </a:lnTo>
                  <a:lnTo>
                    <a:pt x="3359" y="1536"/>
                  </a:lnTo>
                  <a:lnTo>
                    <a:pt x="3362" y="1579"/>
                  </a:lnTo>
                  <a:lnTo>
                    <a:pt x="3366" y="1622"/>
                  </a:lnTo>
                  <a:lnTo>
                    <a:pt x="3367" y="1664"/>
                  </a:lnTo>
                  <a:lnTo>
                    <a:pt x="3368" y="1707"/>
                  </a:lnTo>
                  <a:lnTo>
                    <a:pt x="3368" y="1738"/>
                  </a:lnTo>
                  <a:lnTo>
                    <a:pt x="3367" y="1768"/>
                  </a:lnTo>
                  <a:lnTo>
                    <a:pt x="3366" y="1799"/>
                  </a:lnTo>
                  <a:lnTo>
                    <a:pt x="3363" y="1829"/>
                  </a:lnTo>
                  <a:lnTo>
                    <a:pt x="3361" y="1859"/>
                  </a:lnTo>
                  <a:lnTo>
                    <a:pt x="3358" y="1889"/>
                  </a:lnTo>
                  <a:lnTo>
                    <a:pt x="3355" y="1918"/>
                  </a:lnTo>
                  <a:lnTo>
                    <a:pt x="3351" y="1948"/>
                  </a:lnTo>
                  <a:lnTo>
                    <a:pt x="3351" y="1948"/>
                  </a:lnTo>
                  <a:lnTo>
                    <a:pt x="3350" y="1956"/>
                  </a:lnTo>
                  <a:lnTo>
                    <a:pt x="3349" y="1957"/>
                  </a:lnTo>
                  <a:lnTo>
                    <a:pt x="3349" y="1949"/>
                  </a:lnTo>
                  <a:lnTo>
                    <a:pt x="3349" y="1937"/>
                  </a:lnTo>
                  <a:lnTo>
                    <a:pt x="3348" y="1923"/>
                  </a:lnTo>
                  <a:lnTo>
                    <a:pt x="3348" y="1916"/>
                  </a:lnTo>
                  <a:lnTo>
                    <a:pt x="3348" y="1914"/>
                  </a:lnTo>
                  <a:lnTo>
                    <a:pt x="3347" y="1913"/>
                  </a:lnTo>
                  <a:lnTo>
                    <a:pt x="3347" y="1912"/>
                  </a:lnTo>
                  <a:lnTo>
                    <a:pt x="3346" y="1913"/>
                  </a:lnTo>
                  <a:lnTo>
                    <a:pt x="3345" y="1918"/>
                  </a:lnTo>
                  <a:lnTo>
                    <a:pt x="3345" y="1923"/>
                  </a:lnTo>
                  <a:lnTo>
                    <a:pt x="3345" y="1930"/>
                  </a:lnTo>
                  <a:lnTo>
                    <a:pt x="3345" y="1938"/>
                  </a:lnTo>
                  <a:lnTo>
                    <a:pt x="3344" y="1953"/>
                  </a:lnTo>
                  <a:lnTo>
                    <a:pt x="3344" y="1968"/>
                  </a:lnTo>
                  <a:lnTo>
                    <a:pt x="3345" y="1967"/>
                  </a:lnTo>
                  <a:lnTo>
                    <a:pt x="3345" y="1971"/>
                  </a:lnTo>
                  <a:lnTo>
                    <a:pt x="3343" y="1985"/>
                  </a:lnTo>
                  <a:lnTo>
                    <a:pt x="3341" y="1997"/>
                  </a:lnTo>
                  <a:lnTo>
                    <a:pt x="3341" y="1998"/>
                  </a:lnTo>
                  <a:lnTo>
                    <a:pt x="3343" y="1992"/>
                  </a:lnTo>
                  <a:lnTo>
                    <a:pt x="3344" y="1989"/>
                  </a:lnTo>
                  <a:lnTo>
                    <a:pt x="3346" y="1982"/>
                  </a:lnTo>
                  <a:lnTo>
                    <a:pt x="3348" y="1970"/>
                  </a:lnTo>
                  <a:lnTo>
                    <a:pt x="3349" y="1962"/>
                  </a:lnTo>
                  <a:lnTo>
                    <a:pt x="3349" y="1963"/>
                  </a:lnTo>
                  <a:lnTo>
                    <a:pt x="3349" y="1963"/>
                  </a:lnTo>
                  <a:lnTo>
                    <a:pt x="3344" y="1998"/>
                  </a:lnTo>
                  <a:lnTo>
                    <a:pt x="3337" y="2032"/>
                  </a:lnTo>
                  <a:lnTo>
                    <a:pt x="3330" y="2067"/>
                  </a:lnTo>
                  <a:lnTo>
                    <a:pt x="3323" y="2100"/>
                  </a:lnTo>
                  <a:lnTo>
                    <a:pt x="3323" y="2100"/>
                  </a:lnTo>
                  <a:lnTo>
                    <a:pt x="3319" y="2110"/>
                  </a:lnTo>
                  <a:lnTo>
                    <a:pt x="3317" y="2120"/>
                  </a:lnTo>
                  <a:lnTo>
                    <a:pt x="3312" y="2136"/>
                  </a:lnTo>
                  <a:lnTo>
                    <a:pt x="3307" y="2152"/>
                  </a:lnTo>
                  <a:lnTo>
                    <a:pt x="3302" y="2164"/>
                  </a:lnTo>
                  <a:lnTo>
                    <a:pt x="3300" y="2170"/>
                  </a:lnTo>
                  <a:lnTo>
                    <a:pt x="3297" y="2174"/>
                  </a:lnTo>
                  <a:lnTo>
                    <a:pt x="3293" y="2180"/>
                  </a:lnTo>
                  <a:lnTo>
                    <a:pt x="3292" y="2182"/>
                  </a:lnTo>
                  <a:lnTo>
                    <a:pt x="3291" y="2184"/>
                  </a:lnTo>
                  <a:lnTo>
                    <a:pt x="3290" y="2183"/>
                  </a:lnTo>
                  <a:lnTo>
                    <a:pt x="3290" y="2181"/>
                  </a:lnTo>
                  <a:lnTo>
                    <a:pt x="3292" y="2170"/>
                  </a:lnTo>
                  <a:lnTo>
                    <a:pt x="3293" y="2153"/>
                  </a:lnTo>
                  <a:lnTo>
                    <a:pt x="3295" y="2138"/>
                  </a:lnTo>
                  <a:lnTo>
                    <a:pt x="3296" y="2131"/>
                  </a:lnTo>
                  <a:lnTo>
                    <a:pt x="3295" y="2127"/>
                  </a:lnTo>
                  <a:lnTo>
                    <a:pt x="3293" y="2115"/>
                  </a:lnTo>
                  <a:lnTo>
                    <a:pt x="3292" y="2108"/>
                  </a:lnTo>
                  <a:lnTo>
                    <a:pt x="3292" y="2100"/>
                  </a:lnTo>
                  <a:lnTo>
                    <a:pt x="3292" y="2092"/>
                  </a:lnTo>
                  <a:lnTo>
                    <a:pt x="3293" y="2085"/>
                  </a:lnTo>
                  <a:lnTo>
                    <a:pt x="3295" y="2073"/>
                  </a:lnTo>
                  <a:lnTo>
                    <a:pt x="3297" y="2062"/>
                  </a:lnTo>
                  <a:lnTo>
                    <a:pt x="3297" y="2052"/>
                  </a:lnTo>
                  <a:lnTo>
                    <a:pt x="3297" y="2045"/>
                  </a:lnTo>
                  <a:lnTo>
                    <a:pt x="3295" y="2032"/>
                  </a:lnTo>
                  <a:lnTo>
                    <a:pt x="3293" y="2012"/>
                  </a:lnTo>
                  <a:lnTo>
                    <a:pt x="3292" y="1992"/>
                  </a:lnTo>
                  <a:lnTo>
                    <a:pt x="3291" y="1980"/>
                  </a:lnTo>
                  <a:lnTo>
                    <a:pt x="3290" y="1971"/>
                  </a:lnTo>
                  <a:lnTo>
                    <a:pt x="3290" y="1959"/>
                  </a:lnTo>
                  <a:lnTo>
                    <a:pt x="3290" y="1946"/>
                  </a:lnTo>
                  <a:lnTo>
                    <a:pt x="3290" y="1938"/>
                  </a:lnTo>
                  <a:lnTo>
                    <a:pt x="3289" y="1938"/>
                  </a:lnTo>
                  <a:lnTo>
                    <a:pt x="3287" y="1945"/>
                  </a:lnTo>
                  <a:lnTo>
                    <a:pt x="3286" y="1955"/>
                  </a:lnTo>
                  <a:lnTo>
                    <a:pt x="3285" y="1962"/>
                  </a:lnTo>
                  <a:lnTo>
                    <a:pt x="3285" y="1964"/>
                  </a:lnTo>
                  <a:lnTo>
                    <a:pt x="3285" y="1964"/>
                  </a:lnTo>
                  <a:lnTo>
                    <a:pt x="3284" y="1964"/>
                  </a:lnTo>
                  <a:lnTo>
                    <a:pt x="3284" y="1964"/>
                  </a:lnTo>
                  <a:lnTo>
                    <a:pt x="3282" y="1962"/>
                  </a:lnTo>
                  <a:lnTo>
                    <a:pt x="3281" y="1958"/>
                  </a:lnTo>
                  <a:lnTo>
                    <a:pt x="3279" y="1949"/>
                  </a:lnTo>
                  <a:lnTo>
                    <a:pt x="3277" y="1946"/>
                  </a:lnTo>
                  <a:lnTo>
                    <a:pt x="3278" y="1956"/>
                  </a:lnTo>
                  <a:lnTo>
                    <a:pt x="3280" y="1966"/>
                  </a:lnTo>
                  <a:lnTo>
                    <a:pt x="3281" y="1970"/>
                  </a:lnTo>
                  <a:lnTo>
                    <a:pt x="3282" y="1979"/>
                  </a:lnTo>
                  <a:lnTo>
                    <a:pt x="3282" y="1986"/>
                  </a:lnTo>
                  <a:lnTo>
                    <a:pt x="3282" y="1996"/>
                  </a:lnTo>
                  <a:lnTo>
                    <a:pt x="3282" y="2004"/>
                  </a:lnTo>
                  <a:lnTo>
                    <a:pt x="3283" y="2010"/>
                  </a:lnTo>
                  <a:lnTo>
                    <a:pt x="3283" y="2020"/>
                  </a:lnTo>
                  <a:lnTo>
                    <a:pt x="3284" y="2033"/>
                  </a:lnTo>
                  <a:lnTo>
                    <a:pt x="3284" y="2047"/>
                  </a:lnTo>
                  <a:lnTo>
                    <a:pt x="3284" y="2053"/>
                  </a:lnTo>
                  <a:lnTo>
                    <a:pt x="3284" y="2065"/>
                  </a:lnTo>
                  <a:lnTo>
                    <a:pt x="3283" y="2085"/>
                  </a:lnTo>
                  <a:lnTo>
                    <a:pt x="3283" y="2095"/>
                  </a:lnTo>
                  <a:lnTo>
                    <a:pt x="3282" y="2109"/>
                  </a:lnTo>
                  <a:lnTo>
                    <a:pt x="3282" y="2121"/>
                  </a:lnTo>
                  <a:lnTo>
                    <a:pt x="3282" y="2128"/>
                  </a:lnTo>
                  <a:lnTo>
                    <a:pt x="3284" y="2131"/>
                  </a:lnTo>
                  <a:lnTo>
                    <a:pt x="3286" y="2135"/>
                  </a:lnTo>
                  <a:lnTo>
                    <a:pt x="3289" y="2140"/>
                  </a:lnTo>
                  <a:lnTo>
                    <a:pt x="3289" y="2145"/>
                  </a:lnTo>
                  <a:lnTo>
                    <a:pt x="3286" y="2157"/>
                  </a:lnTo>
                  <a:lnTo>
                    <a:pt x="3286" y="2165"/>
                  </a:lnTo>
                  <a:lnTo>
                    <a:pt x="3285" y="2179"/>
                  </a:lnTo>
                  <a:lnTo>
                    <a:pt x="3283" y="2197"/>
                  </a:lnTo>
                  <a:lnTo>
                    <a:pt x="3282" y="2202"/>
                  </a:lnTo>
                  <a:lnTo>
                    <a:pt x="3282" y="2207"/>
                  </a:lnTo>
                  <a:lnTo>
                    <a:pt x="3282" y="2209"/>
                  </a:lnTo>
                  <a:lnTo>
                    <a:pt x="3282" y="2210"/>
                  </a:lnTo>
                  <a:lnTo>
                    <a:pt x="3283" y="2210"/>
                  </a:lnTo>
                  <a:lnTo>
                    <a:pt x="3284" y="2209"/>
                  </a:lnTo>
                  <a:lnTo>
                    <a:pt x="3289" y="2200"/>
                  </a:lnTo>
                  <a:lnTo>
                    <a:pt x="3296" y="2185"/>
                  </a:lnTo>
                  <a:lnTo>
                    <a:pt x="3300" y="2179"/>
                  </a:lnTo>
                  <a:lnTo>
                    <a:pt x="3302" y="2174"/>
                  </a:lnTo>
                  <a:lnTo>
                    <a:pt x="3303" y="2173"/>
                  </a:lnTo>
                  <a:lnTo>
                    <a:pt x="3303" y="2173"/>
                  </a:lnTo>
                  <a:lnTo>
                    <a:pt x="3303" y="2174"/>
                  </a:lnTo>
                  <a:lnTo>
                    <a:pt x="3303" y="2176"/>
                  </a:lnTo>
                  <a:lnTo>
                    <a:pt x="3297" y="2194"/>
                  </a:lnTo>
                  <a:lnTo>
                    <a:pt x="3289" y="2220"/>
                  </a:lnTo>
                  <a:lnTo>
                    <a:pt x="3281" y="2245"/>
                  </a:lnTo>
                  <a:lnTo>
                    <a:pt x="3275" y="2263"/>
                  </a:lnTo>
                  <a:lnTo>
                    <a:pt x="3270" y="2277"/>
                  </a:lnTo>
                  <a:lnTo>
                    <a:pt x="3263" y="2294"/>
                  </a:lnTo>
                  <a:lnTo>
                    <a:pt x="3257" y="2312"/>
                  </a:lnTo>
                  <a:lnTo>
                    <a:pt x="3250" y="2327"/>
                  </a:lnTo>
                  <a:lnTo>
                    <a:pt x="3241" y="2348"/>
                  </a:lnTo>
                  <a:lnTo>
                    <a:pt x="3227" y="2376"/>
                  </a:lnTo>
                  <a:lnTo>
                    <a:pt x="3215" y="2403"/>
                  </a:lnTo>
                  <a:lnTo>
                    <a:pt x="3206" y="2422"/>
                  </a:lnTo>
                  <a:lnTo>
                    <a:pt x="3201" y="2434"/>
                  </a:lnTo>
                  <a:lnTo>
                    <a:pt x="3197" y="2443"/>
                  </a:lnTo>
                  <a:lnTo>
                    <a:pt x="3193" y="2453"/>
                  </a:lnTo>
                  <a:lnTo>
                    <a:pt x="3190" y="2462"/>
                  </a:lnTo>
                  <a:lnTo>
                    <a:pt x="3183" y="2475"/>
                  </a:lnTo>
                  <a:lnTo>
                    <a:pt x="3181" y="2481"/>
                  </a:lnTo>
                  <a:lnTo>
                    <a:pt x="3177" y="2490"/>
                  </a:lnTo>
                  <a:lnTo>
                    <a:pt x="3171" y="2506"/>
                  </a:lnTo>
                  <a:lnTo>
                    <a:pt x="3163" y="2519"/>
                  </a:lnTo>
                  <a:lnTo>
                    <a:pt x="3153" y="2539"/>
                  </a:lnTo>
                  <a:lnTo>
                    <a:pt x="3141" y="2560"/>
                  </a:lnTo>
                  <a:lnTo>
                    <a:pt x="3135" y="2571"/>
                  </a:lnTo>
                  <a:lnTo>
                    <a:pt x="3130" y="2579"/>
                  </a:lnTo>
                  <a:lnTo>
                    <a:pt x="3121" y="2594"/>
                  </a:lnTo>
                  <a:lnTo>
                    <a:pt x="3112" y="2610"/>
                  </a:lnTo>
                  <a:lnTo>
                    <a:pt x="3106" y="2620"/>
                  </a:lnTo>
                  <a:lnTo>
                    <a:pt x="3096" y="2633"/>
                  </a:lnTo>
                  <a:lnTo>
                    <a:pt x="3090" y="2644"/>
                  </a:lnTo>
                  <a:lnTo>
                    <a:pt x="3088" y="2648"/>
                  </a:lnTo>
                  <a:lnTo>
                    <a:pt x="3085" y="2654"/>
                  </a:lnTo>
                  <a:lnTo>
                    <a:pt x="3081" y="2660"/>
                  </a:lnTo>
                  <a:lnTo>
                    <a:pt x="3074" y="2669"/>
                  </a:lnTo>
                  <a:lnTo>
                    <a:pt x="3067" y="2680"/>
                  </a:lnTo>
                  <a:lnTo>
                    <a:pt x="3062" y="2688"/>
                  </a:lnTo>
                  <a:lnTo>
                    <a:pt x="3059" y="2691"/>
                  </a:lnTo>
                  <a:lnTo>
                    <a:pt x="3056" y="2695"/>
                  </a:lnTo>
                  <a:lnTo>
                    <a:pt x="3050" y="2704"/>
                  </a:lnTo>
                  <a:lnTo>
                    <a:pt x="3044" y="2713"/>
                  </a:lnTo>
                  <a:lnTo>
                    <a:pt x="3042" y="2715"/>
                  </a:lnTo>
                  <a:lnTo>
                    <a:pt x="3042" y="2715"/>
                  </a:lnTo>
                  <a:lnTo>
                    <a:pt x="3042" y="2715"/>
                  </a:lnTo>
                  <a:lnTo>
                    <a:pt x="3034" y="2726"/>
                  </a:lnTo>
                  <a:lnTo>
                    <a:pt x="3026" y="2736"/>
                  </a:lnTo>
                  <a:lnTo>
                    <a:pt x="3026" y="2736"/>
                  </a:lnTo>
                  <a:lnTo>
                    <a:pt x="3025" y="2739"/>
                  </a:lnTo>
                  <a:lnTo>
                    <a:pt x="3024" y="2739"/>
                  </a:lnTo>
                  <a:lnTo>
                    <a:pt x="3024" y="2739"/>
                  </a:lnTo>
                  <a:lnTo>
                    <a:pt x="3006" y="2764"/>
                  </a:lnTo>
                  <a:lnTo>
                    <a:pt x="2986" y="2788"/>
                  </a:lnTo>
                  <a:lnTo>
                    <a:pt x="2967" y="2812"/>
                  </a:lnTo>
                  <a:lnTo>
                    <a:pt x="2948" y="2835"/>
                  </a:lnTo>
                  <a:lnTo>
                    <a:pt x="2940" y="2843"/>
                  </a:lnTo>
                  <a:lnTo>
                    <a:pt x="2933" y="2852"/>
                  </a:lnTo>
                  <a:lnTo>
                    <a:pt x="2924" y="2859"/>
                  </a:lnTo>
                  <a:lnTo>
                    <a:pt x="2917" y="2867"/>
                  </a:lnTo>
                  <a:lnTo>
                    <a:pt x="2905" y="2880"/>
                  </a:lnTo>
                  <a:lnTo>
                    <a:pt x="2897" y="2887"/>
                  </a:lnTo>
                  <a:lnTo>
                    <a:pt x="2891" y="2892"/>
                  </a:lnTo>
                  <a:lnTo>
                    <a:pt x="2889" y="2892"/>
                  </a:lnTo>
                  <a:lnTo>
                    <a:pt x="2889" y="2890"/>
                  </a:lnTo>
                  <a:lnTo>
                    <a:pt x="2889" y="2888"/>
                  </a:lnTo>
                  <a:lnTo>
                    <a:pt x="2897" y="2878"/>
                  </a:lnTo>
                  <a:lnTo>
                    <a:pt x="2904" y="2866"/>
                  </a:lnTo>
                  <a:lnTo>
                    <a:pt x="2907" y="2854"/>
                  </a:lnTo>
                  <a:lnTo>
                    <a:pt x="2910" y="2838"/>
                  </a:lnTo>
                  <a:lnTo>
                    <a:pt x="2911" y="2832"/>
                  </a:lnTo>
                  <a:lnTo>
                    <a:pt x="2913" y="2824"/>
                  </a:lnTo>
                  <a:lnTo>
                    <a:pt x="2917" y="2815"/>
                  </a:lnTo>
                  <a:lnTo>
                    <a:pt x="2921" y="2805"/>
                  </a:lnTo>
                  <a:lnTo>
                    <a:pt x="2929" y="2791"/>
                  </a:lnTo>
                  <a:lnTo>
                    <a:pt x="2933" y="2782"/>
                  </a:lnTo>
                  <a:lnTo>
                    <a:pt x="2933" y="2777"/>
                  </a:lnTo>
                  <a:lnTo>
                    <a:pt x="2933" y="2771"/>
                  </a:lnTo>
                  <a:lnTo>
                    <a:pt x="2935" y="2763"/>
                  </a:lnTo>
                  <a:lnTo>
                    <a:pt x="2935" y="2753"/>
                  </a:lnTo>
                  <a:lnTo>
                    <a:pt x="2933" y="2751"/>
                  </a:lnTo>
                  <a:lnTo>
                    <a:pt x="2931" y="2747"/>
                  </a:lnTo>
                  <a:lnTo>
                    <a:pt x="2930" y="2745"/>
                  </a:lnTo>
                  <a:lnTo>
                    <a:pt x="2930" y="2743"/>
                  </a:lnTo>
                  <a:lnTo>
                    <a:pt x="2930" y="2739"/>
                  </a:lnTo>
                  <a:lnTo>
                    <a:pt x="2931" y="2737"/>
                  </a:lnTo>
                  <a:lnTo>
                    <a:pt x="2936" y="2725"/>
                  </a:lnTo>
                  <a:lnTo>
                    <a:pt x="2945" y="2706"/>
                  </a:lnTo>
                  <a:lnTo>
                    <a:pt x="2955" y="2687"/>
                  </a:lnTo>
                  <a:lnTo>
                    <a:pt x="2960" y="2677"/>
                  </a:lnTo>
                  <a:lnTo>
                    <a:pt x="2964" y="2671"/>
                  </a:lnTo>
                  <a:lnTo>
                    <a:pt x="2974" y="2662"/>
                  </a:lnTo>
                  <a:lnTo>
                    <a:pt x="2982" y="2650"/>
                  </a:lnTo>
                  <a:lnTo>
                    <a:pt x="2986" y="2642"/>
                  </a:lnTo>
                  <a:lnTo>
                    <a:pt x="2986" y="2631"/>
                  </a:lnTo>
                  <a:lnTo>
                    <a:pt x="2985" y="2623"/>
                  </a:lnTo>
                  <a:lnTo>
                    <a:pt x="2985" y="2617"/>
                  </a:lnTo>
                  <a:lnTo>
                    <a:pt x="2987" y="2609"/>
                  </a:lnTo>
                  <a:lnTo>
                    <a:pt x="2990" y="2603"/>
                  </a:lnTo>
                  <a:lnTo>
                    <a:pt x="2992" y="2598"/>
                  </a:lnTo>
                  <a:lnTo>
                    <a:pt x="2990" y="2590"/>
                  </a:lnTo>
                  <a:lnTo>
                    <a:pt x="2989" y="2581"/>
                  </a:lnTo>
                  <a:lnTo>
                    <a:pt x="2990" y="2576"/>
                  </a:lnTo>
                  <a:lnTo>
                    <a:pt x="2990" y="2567"/>
                  </a:lnTo>
                  <a:lnTo>
                    <a:pt x="2992" y="2561"/>
                  </a:lnTo>
                  <a:lnTo>
                    <a:pt x="2990" y="2555"/>
                  </a:lnTo>
                  <a:lnTo>
                    <a:pt x="2990" y="2551"/>
                  </a:lnTo>
                  <a:lnTo>
                    <a:pt x="2988" y="2547"/>
                  </a:lnTo>
                  <a:lnTo>
                    <a:pt x="2981" y="2541"/>
                  </a:lnTo>
                  <a:lnTo>
                    <a:pt x="2973" y="2536"/>
                  </a:lnTo>
                  <a:lnTo>
                    <a:pt x="2970" y="2533"/>
                  </a:lnTo>
                  <a:lnTo>
                    <a:pt x="2966" y="2530"/>
                  </a:lnTo>
                  <a:lnTo>
                    <a:pt x="2966" y="2528"/>
                  </a:lnTo>
                  <a:lnTo>
                    <a:pt x="2966" y="2525"/>
                  </a:lnTo>
                  <a:lnTo>
                    <a:pt x="2967" y="2523"/>
                  </a:lnTo>
                  <a:lnTo>
                    <a:pt x="2968" y="2519"/>
                  </a:lnTo>
                  <a:lnTo>
                    <a:pt x="2975" y="2506"/>
                  </a:lnTo>
                  <a:lnTo>
                    <a:pt x="2980" y="2491"/>
                  </a:lnTo>
                  <a:lnTo>
                    <a:pt x="2985" y="2480"/>
                  </a:lnTo>
                  <a:lnTo>
                    <a:pt x="2987" y="2471"/>
                  </a:lnTo>
                  <a:lnTo>
                    <a:pt x="2990" y="2464"/>
                  </a:lnTo>
                  <a:lnTo>
                    <a:pt x="2995" y="2453"/>
                  </a:lnTo>
                  <a:lnTo>
                    <a:pt x="2997" y="2448"/>
                  </a:lnTo>
                  <a:lnTo>
                    <a:pt x="2998" y="2443"/>
                  </a:lnTo>
                  <a:lnTo>
                    <a:pt x="2999" y="2439"/>
                  </a:lnTo>
                  <a:lnTo>
                    <a:pt x="2998" y="2437"/>
                  </a:lnTo>
                  <a:lnTo>
                    <a:pt x="2993" y="2434"/>
                  </a:lnTo>
                  <a:lnTo>
                    <a:pt x="2988" y="2430"/>
                  </a:lnTo>
                  <a:lnTo>
                    <a:pt x="2986" y="2429"/>
                  </a:lnTo>
                  <a:lnTo>
                    <a:pt x="2984" y="2429"/>
                  </a:lnTo>
                  <a:lnTo>
                    <a:pt x="2982" y="2429"/>
                  </a:lnTo>
                  <a:lnTo>
                    <a:pt x="2979" y="2430"/>
                  </a:lnTo>
                  <a:lnTo>
                    <a:pt x="2974" y="2432"/>
                  </a:lnTo>
                  <a:lnTo>
                    <a:pt x="2968" y="2435"/>
                  </a:lnTo>
                  <a:lnTo>
                    <a:pt x="2965" y="2436"/>
                  </a:lnTo>
                  <a:lnTo>
                    <a:pt x="2963" y="2436"/>
                  </a:lnTo>
                  <a:lnTo>
                    <a:pt x="2961" y="2436"/>
                  </a:lnTo>
                  <a:lnTo>
                    <a:pt x="2960" y="2435"/>
                  </a:lnTo>
                  <a:lnTo>
                    <a:pt x="2952" y="2422"/>
                  </a:lnTo>
                  <a:lnTo>
                    <a:pt x="2943" y="2412"/>
                  </a:lnTo>
                  <a:lnTo>
                    <a:pt x="2930" y="2413"/>
                  </a:lnTo>
                  <a:lnTo>
                    <a:pt x="2920" y="2413"/>
                  </a:lnTo>
                  <a:lnTo>
                    <a:pt x="2912" y="2418"/>
                  </a:lnTo>
                  <a:lnTo>
                    <a:pt x="2897" y="2428"/>
                  </a:lnTo>
                  <a:lnTo>
                    <a:pt x="2889" y="2436"/>
                  </a:lnTo>
                  <a:lnTo>
                    <a:pt x="2879" y="2444"/>
                  </a:lnTo>
                  <a:lnTo>
                    <a:pt x="2874" y="2448"/>
                  </a:lnTo>
                  <a:lnTo>
                    <a:pt x="2868" y="2451"/>
                  </a:lnTo>
                  <a:lnTo>
                    <a:pt x="2863" y="2453"/>
                  </a:lnTo>
                  <a:lnTo>
                    <a:pt x="2858" y="2453"/>
                  </a:lnTo>
                  <a:lnTo>
                    <a:pt x="2848" y="2453"/>
                  </a:lnTo>
                  <a:lnTo>
                    <a:pt x="2837" y="2454"/>
                  </a:lnTo>
                  <a:lnTo>
                    <a:pt x="2827" y="2457"/>
                  </a:lnTo>
                  <a:lnTo>
                    <a:pt x="2820" y="2460"/>
                  </a:lnTo>
                  <a:lnTo>
                    <a:pt x="2810" y="2465"/>
                  </a:lnTo>
                  <a:lnTo>
                    <a:pt x="2796" y="2471"/>
                  </a:lnTo>
                  <a:lnTo>
                    <a:pt x="2781" y="2478"/>
                  </a:lnTo>
                  <a:lnTo>
                    <a:pt x="2768" y="2482"/>
                  </a:lnTo>
                  <a:lnTo>
                    <a:pt x="2766" y="2482"/>
                  </a:lnTo>
                  <a:lnTo>
                    <a:pt x="2762" y="2481"/>
                  </a:lnTo>
                  <a:lnTo>
                    <a:pt x="2757" y="2479"/>
                  </a:lnTo>
                  <a:lnTo>
                    <a:pt x="2751" y="2474"/>
                  </a:lnTo>
                  <a:lnTo>
                    <a:pt x="2738" y="2466"/>
                  </a:lnTo>
                  <a:lnTo>
                    <a:pt x="2723" y="2456"/>
                  </a:lnTo>
                  <a:lnTo>
                    <a:pt x="2710" y="2444"/>
                  </a:lnTo>
                  <a:lnTo>
                    <a:pt x="2697" y="2434"/>
                  </a:lnTo>
                  <a:lnTo>
                    <a:pt x="2688" y="2425"/>
                  </a:lnTo>
                  <a:lnTo>
                    <a:pt x="2683" y="2419"/>
                  </a:lnTo>
                  <a:lnTo>
                    <a:pt x="2678" y="2405"/>
                  </a:lnTo>
                  <a:lnTo>
                    <a:pt x="2672" y="2388"/>
                  </a:lnTo>
                  <a:lnTo>
                    <a:pt x="2666" y="2373"/>
                  </a:lnTo>
                  <a:lnTo>
                    <a:pt x="2659" y="2364"/>
                  </a:lnTo>
                  <a:lnTo>
                    <a:pt x="2652" y="2359"/>
                  </a:lnTo>
                  <a:lnTo>
                    <a:pt x="2642" y="2353"/>
                  </a:lnTo>
                  <a:lnTo>
                    <a:pt x="2637" y="2350"/>
                  </a:lnTo>
                  <a:lnTo>
                    <a:pt x="2633" y="2346"/>
                  </a:lnTo>
                  <a:lnTo>
                    <a:pt x="2632" y="2342"/>
                  </a:lnTo>
                  <a:lnTo>
                    <a:pt x="2631" y="2340"/>
                  </a:lnTo>
                  <a:lnTo>
                    <a:pt x="2631" y="2337"/>
                  </a:lnTo>
                  <a:lnTo>
                    <a:pt x="2631" y="2335"/>
                  </a:lnTo>
                  <a:lnTo>
                    <a:pt x="2636" y="2318"/>
                  </a:lnTo>
                  <a:lnTo>
                    <a:pt x="2643" y="2298"/>
                  </a:lnTo>
                  <a:lnTo>
                    <a:pt x="2649" y="2281"/>
                  </a:lnTo>
                  <a:lnTo>
                    <a:pt x="2653" y="2270"/>
                  </a:lnTo>
                  <a:lnTo>
                    <a:pt x="2656" y="2259"/>
                  </a:lnTo>
                  <a:lnTo>
                    <a:pt x="2661" y="2234"/>
                  </a:lnTo>
                  <a:lnTo>
                    <a:pt x="2664" y="2222"/>
                  </a:lnTo>
                  <a:lnTo>
                    <a:pt x="2666" y="2209"/>
                  </a:lnTo>
                  <a:lnTo>
                    <a:pt x="2667" y="2199"/>
                  </a:lnTo>
                  <a:lnTo>
                    <a:pt x="2667" y="2192"/>
                  </a:lnTo>
                  <a:lnTo>
                    <a:pt x="2665" y="2179"/>
                  </a:lnTo>
                  <a:lnTo>
                    <a:pt x="2663" y="2164"/>
                  </a:lnTo>
                  <a:lnTo>
                    <a:pt x="2661" y="2157"/>
                  </a:lnTo>
                  <a:lnTo>
                    <a:pt x="2661" y="2151"/>
                  </a:lnTo>
                  <a:lnTo>
                    <a:pt x="2663" y="2146"/>
                  </a:lnTo>
                  <a:lnTo>
                    <a:pt x="2664" y="2143"/>
                  </a:lnTo>
                  <a:lnTo>
                    <a:pt x="2673" y="2129"/>
                  </a:lnTo>
                  <a:lnTo>
                    <a:pt x="2689" y="2099"/>
                  </a:lnTo>
                  <a:lnTo>
                    <a:pt x="2698" y="2083"/>
                  </a:lnTo>
                  <a:lnTo>
                    <a:pt x="2707" y="2068"/>
                  </a:lnTo>
                  <a:lnTo>
                    <a:pt x="2715" y="2055"/>
                  </a:lnTo>
                  <a:lnTo>
                    <a:pt x="2721" y="2047"/>
                  </a:lnTo>
                  <a:lnTo>
                    <a:pt x="2736" y="2032"/>
                  </a:lnTo>
                  <a:lnTo>
                    <a:pt x="2753" y="2017"/>
                  </a:lnTo>
                  <a:lnTo>
                    <a:pt x="2767" y="2004"/>
                  </a:lnTo>
                  <a:lnTo>
                    <a:pt x="2773" y="1998"/>
                  </a:lnTo>
                  <a:lnTo>
                    <a:pt x="2773" y="1997"/>
                  </a:lnTo>
                  <a:lnTo>
                    <a:pt x="2773" y="1992"/>
                  </a:lnTo>
                  <a:lnTo>
                    <a:pt x="2774" y="1984"/>
                  </a:lnTo>
                  <a:lnTo>
                    <a:pt x="2779" y="1974"/>
                  </a:lnTo>
                  <a:lnTo>
                    <a:pt x="2784" y="1959"/>
                  </a:lnTo>
                  <a:lnTo>
                    <a:pt x="2788" y="1946"/>
                  </a:lnTo>
                  <a:lnTo>
                    <a:pt x="2790" y="1940"/>
                  </a:lnTo>
                  <a:lnTo>
                    <a:pt x="2792" y="1934"/>
                  </a:lnTo>
                  <a:lnTo>
                    <a:pt x="2796" y="1929"/>
                  </a:lnTo>
                  <a:lnTo>
                    <a:pt x="2799" y="1923"/>
                  </a:lnTo>
                  <a:lnTo>
                    <a:pt x="2807" y="1914"/>
                  </a:lnTo>
                  <a:lnTo>
                    <a:pt x="2817" y="1904"/>
                  </a:lnTo>
                  <a:lnTo>
                    <a:pt x="2825" y="1894"/>
                  </a:lnTo>
                  <a:lnTo>
                    <a:pt x="2833" y="1883"/>
                  </a:lnTo>
                  <a:lnTo>
                    <a:pt x="2840" y="1874"/>
                  </a:lnTo>
                  <a:lnTo>
                    <a:pt x="2846" y="1865"/>
                  </a:lnTo>
                  <a:lnTo>
                    <a:pt x="2849" y="1857"/>
                  </a:lnTo>
                  <a:lnTo>
                    <a:pt x="2851" y="1853"/>
                  </a:lnTo>
                  <a:lnTo>
                    <a:pt x="2852" y="1849"/>
                  </a:lnTo>
                  <a:lnTo>
                    <a:pt x="2854" y="1844"/>
                  </a:lnTo>
                  <a:lnTo>
                    <a:pt x="2855" y="1843"/>
                  </a:lnTo>
                  <a:lnTo>
                    <a:pt x="2856" y="1843"/>
                  </a:lnTo>
                  <a:lnTo>
                    <a:pt x="2858" y="1843"/>
                  </a:lnTo>
                  <a:lnTo>
                    <a:pt x="2861" y="1846"/>
                  </a:lnTo>
                  <a:lnTo>
                    <a:pt x="2863" y="1848"/>
                  </a:lnTo>
                  <a:lnTo>
                    <a:pt x="2865" y="1850"/>
                  </a:lnTo>
                  <a:lnTo>
                    <a:pt x="2868" y="1851"/>
                  </a:lnTo>
                  <a:lnTo>
                    <a:pt x="2870" y="1852"/>
                  </a:lnTo>
                  <a:lnTo>
                    <a:pt x="2876" y="1853"/>
                  </a:lnTo>
                  <a:lnTo>
                    <a:pt x="2882" y="1853"/>
                  </a:lnTo>
                  <a:lnTo>
                    <a:pt x="2890" y="1852"/>
                  </a:lnTo>
                  <a:lnTo>
                    <a:pt x="2902" y="1851"/>
                  </a:lnTo>
                  <a:lnTo>
                    <a:pt x="2917" y="1849"/>
                  </a:lnTo>
                  <a:lnTo>
                    <a:pt x="2928" y="1846"/>
                  </a:lnTo>
                  <a:lnTo>
                    <a:pt x="2935" y="1841"/>
                  </a:lnTo>
                  <a:lnTo>
                    <a:pt x="2943" y="1832"/>
                  </a:lnTo>
                  <a:lnTo>
                    <a:pt x="2952" y="1825"/>
                  </a:lnTo>
                  <a:lnTo>
                    <a:pt x="2959" y="1821"/>
                  </a:lnTo>
                  <a:lnTo>
                    <a:pt x="2967" y="1820"/>
                  </a:lnTo>
                  <a:lnTo>
                    <a:pt x="2981" y="1815"/>
                  </a:lnTo>
                  <a:lnTo>
                    <a:pt x="2997" y="1812"/>
                  </a:lnTo>
                  <a:lnTo>
                    <a:pt x="3012" y="1809"/>
                  </a:lnTo>
                  <a:lnTo>
                    <a:pt x="3028" y="1806"/>
                  </a:lnTo>
                  <a:lnTo>
                    <a:pt x="3045" y="1802"/>
                  </a:lnTo>
                  <a:lnTo>
                    <a:pt x="3052" y="1800"/>
                  </a:lnTo>
                  <a:lnTo>
                    <a:pt x="3060" y="1799"/>
                  </a:lnTo>
                  <a:lnTo>
                    <a:pt x="3065" y="1799"/>
                  </a:lnTo>
                  <a:lnTo>
                    <a:pt x="3069" y="1801"/>
                  </a:lnTo>
                  <a:lnTo>
                    <a:pt x="3075" y="1805"/>
                  </a:lnTo>
                  <a:lnTo>
                    <a:pt x="3081" y="1809"/>
                  </a:lnTo>
                  <a:lnTo>
                    <a:pt x="3083" y="1811"/>
                  </a:lnTo>
                  <a:lnTo>
                    <a:pt x="3085" y="1812"/>
                  </a:lnTo>
                  <a:lnTo>
                    <a:pt x="3085" y="1814"/>
                  </a:lnTo>
                  <a:lnTo>
                    <a:pt x="3085" y="1815"/>
                  </a:lnTo>
                  <a:lnTo>
                    <a:pt x="3082" y="1820"/>
                  </a:lnTo>
                  <a:lnTo>
                    <a:pt x="3078" y="1826"/>
                  </a:lnTo>
                  <a:lnTo>
                    <a:pt x="3077" y="1830"/>
                  </a:lnTo>
                  <a:lnTo>
                    <a:pt x="3077" y="1834"/>
                  </a:lnTo>
                  <a:lnTo>
                    <a:pt x="3077" y="1839"/>
                  </a:lnTo>
                  <a:lnTo>
                    <a:pt x="3080" y="1846"/>
                  </a:lnTo>
                  <a:lnTo>
                    <a:pt x="3083" y="1857"/>
                  </a:lnTo>
                  <a:lnTo>
                    <a:pt x="3085" y="1869"/>
                  </a:lnTo>
                  <a:lnTo>
                    <a:pt x="3086" y="1880"/>
                  </a:lnTo>
                  <a:lnTo>
                    <a:pt x="3088" y="1889"/>
                  </a:lnTo>
                  <a:lnTo>
                    <a:pt x="3090" y="1895"/>
                  </a:lnTo>
                  <a:lnTo>
                    <a:pt x="3093" y="1898"/>
                  </a:lnTo>
                  <a:lnTo>
                    <a:pt x="3097" y="1900"/>
                  </a:lnTo>
                  <a:lnTo>
                    <a:pt x="3103" y="1901"/>
                  </a:lnTo>
                  <a:lnTo>
                    <a:pt x="3110" y="1900"/>
                  </a:lnTo>
                  <a:lnTo>
                    <a:pt x="3116" y="1899"/>
                  </a:lnTo>
                  <a:lnTo>
                    <a:pt x="3118" y="1899"/>
                  </a:lnTo>
                  <a:lnTo>
                    <a:pt x="3121" y="1900"/>
                  </a:lnTo>
                  <a:lnTo>
                    <a:pt x="3124" y="1903"/>
                  </a:lnTo>
                  <a:lnTo>
                    <a:pt x="3127" y="1908"/>
                  </a:lnTo>
                  <a:lnTo>
                    <a:pt x="3129" y="1912"/>
                  </a:lnTo>
                  <a:lnTo>
                    <a:pt x="3133" y="1917"/>
                  </a:lnTo>
                  <a:lnTo>
                    <a:pt x="3138" y="1920"/>
                  </a:lnTo>
                  <a:lnTo>
                    <a:pt x="3143" y="1924"/>
                  </a:lnTo>
                  <a:lnTo>
                    <a:pt x="3155" y="1931"/>
                  </a:lnTo>
                  <a:lnTo>
                    <a:pt x="3165" y="1935"/>
                  </a:lnTo>
                  <a:lnTo>
                    <a:pt x="3169" y="1935"/>
                  </a:lnTo>
                  <a:lnTo>
                    <a:pt x="3171" y="1933"/>
                  </a:lnTo>
                  <a:lnTo>
                    <a:pt x="3173" y="1931"/>
                  </a:lnTo>
                  <a:lnTo>
                    <a:pt x="3175" y="1927"/>
                  </a:lnTo>
                  <a:lnTo>
                    <a:pt x="3179" y="1918"/>
                  </a:lnTo>
                  <a:lnTo>
                    <a:pt x="3183" y="1909"/>
                  </a:lnTo>
                  <a:lnTo>
                    <a:pt x="3187" y="1898"/>
                  </a:lnTo>
                  <a:lnTo>
                    <a:pt x="3192" y="1891"/>
                  </a:lnTo>
                  <a:lnTo>
                    <a:pt x="3194" y="1888"/>
                  </a:lnTo>
                  <a:lnTo>
                    <a:pt x="3196" y="1887"/>
                  </a:lnTo>
                  <a:lnTo>
                    <a:pt x="3198" y="1886"/>
                  </a:lnTo>
                  <a:lnTo>
                    <a:pt x="3200" y="1888"/>
                  </a:lnTo>
                  <a:lnTo>
                    <a:pt x="3207" y="1895"/>
                  </a:lnTo>
                  <a:lnTo>
                    <a:pt x="3215" y="1903"/>
                  </a:lnTo>
                  <a:lnTo>
                    <a:pt x="3221" y="1910"/>
                  </a:lnTo>
                  <a:lnTo>
                    <a:pt x="3229" y="1915"/>
                  </a:lnTo>
                  <a:lnTo>
                    <a:pt x="3238" y="1916"/>
                  </a:lnTo>
                  <a:lnTo>
                    <a:pt x="3247" y="1915"/>
                  </a:lnTo>
                  <a:lnTo>
                    <a:pt x="3255" y="1913"/>
                  </a:lnTo>
                  <a:lnTo>
                    <a:pt x="3258" y="1912"/>
                  </a:lnTo>
                  <a:lnTo>
                    <a:pt x="3258" y="1910"/>
                  </a:lnTo>
                  <a:lnTo>
                    <a:pt x="3261" y="1904"/>
                  </a:lnTo>
                  <a:lnTo>
                    <a:pt x="3263" y="1903"/>
                  </a:lnTo>
                  <a:lnTo>
                    <a:pt x="3264" y="1902"/>
                  </a:lnTo>
                  <a:lnTo>
                    <a:pt x="3267" y="1903"/>
                  </a:lnTo>
                  <a:lnTo>
                    <a:pt x="3269" y="1907"/>
                  </a:lnTo>
                  <a:lnTo>
                    <a:pt x="3273" y="1914"/>
                  </a:lnTo>
                  <a:lnTo>
                    <a:pt x="3275" y="1917"/>
                  </a:lnTo>
                  <a:lnTo>
                    <a:pt x="3277" y="1918"/>
                  </a:lnTo>
                  <a:lnTo>
                    <a:pt x="3278" y="1918"/>
                  </a:lnTo>
                  <a:lnTo>
                    <a:pt x="3279" y="1917"/>
                  </a:lnTo>
                  <a:lnTo>
                    <a:pt x="3281" y="1915"/>
                  </a:lnTo>
                  <a:lnTo>
                    <a:pt x="3288" y="1904"/>
                  </a:lnTo>
                  <a:lnTo>
                    <a:pt x="3291" y="1899"/>
                  </a:lnTo>
                  <a:lnTo>
                    <a:pt x="3291" y="1895"/>
                  </a:lnTo>
                  <a:lnTo>
                    <a:pt x="3292" y="1883"/>
                  </a:lnTo>
                  <a:lnTo>
                    <a:pt x="3293" y="1870"/>
                  </a:lnTo>
                  <a:lnTo>
                    <a:pt x="3295" y="1856"/>
                  </a:lnTo>
                  <a:lnTo>
                    <a:pt x="3300" y="1837"/>
                  </a:lnTo>
                  <a:lnTo>
                    <a:pt x="3302" y="1826"/>
                  </a:lnTo>
                  <a:lnTo>
                    <a:pt x="3303" y="1821"/>
                  </a:lnTo>
                  <a:lnTo>
                    <a:pt x="3303" y="1813"/>
                  </a:lnTo>
                  <a:lnTo>
                    <a:pt x="3303" y="1809"/>
                  </a:lnTo>
                  <a:lnTo>
                    <a:pt x="3303" y="1807"/>
                  </a:lnTo>
                  <a:lnTo>
                    <a:pt x="3302" y="1805"/>
                  </a:lnTo>
                  <a:lnTo>
                    <a:pt x="3301" y="1805"/>
                  </a:lnTo>
                  <a:lnTo>
                    <a:pt x="3296" y="1809"/>
                  </a:lnTo>
                  <a:lnTo>
                    <a:pt x="3293" y="1814"/>
                  </a:lnTo>
                  <a:lnTo>
                    <a:pt x="3291" y="1816"/>
                  </a:lnTo>
                  <a:lnTo>
                    <a:pt x="3290" y="1819"/>
                  </a:lnTo>
                  <a:lnTo>
                    <a:pt x="3288" y="1819"/>
                  </a:lnTo>
                  <a:lnTo>
                    <a:pt x="3287" y="1817"/>
                  </a:lnTo>
                  <a:lnTo>
                    <a:pt x="3285" y="1814"/>
                  </a:lnTo>
                  <a:lnTo>
                    <a:pt x="3282" y="1810"/>
                  </a:lnTo>
                  <a:lnTo>
                    <a:pt x="3281" y="1809"/>
                  </a:lnTo>
                  <a:lnTo>
                    <a:pt x="3279" y="1808"/>
                  </a:lnTo>
                  <a:lnTo>
                    <a:pt x="3278" y="1809"/>
                  </a:lnTo>
                  <a:lnTo>
                    <a:pt x="3275" y="1810"/>
                  </a:lnTo>
                  <a:lnTo>
                    <a:pt x="3268" y="1817"/>
                  </a:lnTo>
                  <a:lnTo>
                    <a:pt x="3263" y="1821"/>
                  </a:lnTo>
                  <a:lnTo>
                    <a:pt x="3251" y="1828"/>
                  </a:lnTo>
                  <a:lnTo>
                    <a:pt x="3241" y="1834"/>
                  </a:lnTo>
                  <a:lnTo>
                    <a:pt x="3240" y="1831"/>
                  </a:lnTo>
                  <a:lnTo>
                    <a:pt x="3238" y="1825"/>
                  </a:lnTo>
                  <a:lnTo>
                    <a:pt x="3236" y="1816"/>
                  </a:lnTo>
                  <a:lnTo>
                    <a:pt x="3236" y="1808"/>
                  </a:lnTo>
                  <a:lnTo>
                    <a:pt x="3238" y="1795"/>
                  </a:lnTo>
                  <a:lnTo>
                    <a:pt x="3240" y="1784"/>
                  </a:lnTo>
                  <a:lnTo>
                    <a:pt x="3239" y="1777"/>
                  </a:lnTo>
                  <a:lnTo>
                    <a:pt x="3238" y="1769"/>
                  </a:lnTo>
                  <a:lnTo>
                    <a:pt x="3237" y="1761"/>
                  </a:lnTo>
                  <a:lnTo>
                    <a:pt x="3238" y="1754"/>
                  </a:lnTo>
                  <a:lnTo>
                    <a:pt x="3240" y="1745"/>
                  </a:lnTo>
                  <a:lnTo>
                    <a:pt x="3242" y="1736"/>
                  </a:lnTo>
                  <a:lnTo>
                    <a:pt x="3245" y="1727"/>
                  </a:lnTo>
                  <a:lnTo>
                    <a:pt x="3246" y="1722"/>
                  </a:lnTo>
                  <a:lnTo>
                    <a:pt x="3240" y="1727"/>
                  </a:lnTo>
                  <a:lnTo>
                    <a:pt x="3229" y="1735"/>
                  </a:lnTo>
                  <a:lnTo>
                    <a:pt x="3227" y="1746"/>
                  </a:lnTo>
                  <a:lnTo>
                    <a:pt x="3225" y="1757"/>
                  </a:lnTo>
                  <a:lnTo>
                    <a:pt x="3222" y="1753"/>
                  </a:lnTo>
                  <a:lnTo>
                    <a:pt x="3217" y="1745"/>
                  </a:lnTo>
                  <a:lnTo>
                    <a:pt x="3215" y="1742"/>
                  </a:lnTo>
                  <a:lnTo>
                    <a:pt x="3212" y="1739"/>
                  </a:lnTo>
                  <a:lnTo>
                    <a:pt x="3210" y="1738"/>
                  </a:lnTo>
                  <a:lnTo>
                    <a:pt x="3209" y="1738"/>
                  </a:lnTo>
                  <a:lnTo>
                    <a:pt x="3209" y="1738"/>
                  </a:lnTo>
                  <a:lnTo>
                    <a:pt x="3208" y="1739"/>
                  </a:lnTo>
                  <a:lnTo>
                    <a:pt x="3207" y="1744"/>
                  </a:lnTo>
                  <a:lnTo>
                    <a:pt x="3207" y="1753"/>
                  </a:lnTo>
                  <a:lnTo>
                    <a:pt x="3208" y="1761"/>
                  </a:lnTo>
                  <a:lnTo>
                    <a:pt x="3209" y="1770"/>
                  </a:lnTo>
                  <a:lnTo>
                    <a:pt x="3209" y="1776"/>
                  </a:lnTo>
                  <a:lnTo>
                    <a:pt x="3209" y="1781"/>
                  </a:lnTo>
                  <a:lnTo>
                    <a:pt x="3208" y="1786"/>
                  </a:lnTo>
                  <a:lnTo>
                    <a:pt x="3206" y="1790"/>
                  </a:lnTo>
                  <a:lnTo>
                    <a:pt x="3203" y="1797"/>
                  </a:lnTo>
                  <a:lnTo>
                    <a:pt x="3202" y="1800"/>
                  </a:lnTo>
                  <a:lnTo>
                    <a:pt x="3200" y="1797"/>
                  </a:lnTo>
                  <a:lnTo>
                    <a:pt x="3195" y="1790"/>
                  </a:lnTo>
                  <a:lnTo>
                    <a:pt x="3191" y="1783"/>
                  </a:lnTo>
                  <a:lnTo>
                    <a:pt x="3188" y="1777"/>
                  </a:lnTo>
                  <a:lnTo>
                    <a:pt x="3187" y="1767"/>
                  </a:lnTo>
                  <a:lnTo>
                    <a:pt x="3183" y="1748"/>
                  </a:lnTo>
                  <a:lnTo>
                    <a:pt x="3179" y="1731"/>
                  </a:lnTo>
                  <a:lnTo>
                    <a:pt x="3178" y="1721"/>
                  </a:lnTo>
                  <a:lnTo>
                    <a:pt x="3175" y="1711"/>
                  </a:lnTo>
                  <a:lnTo>
                    <a:pt x="3170" y="1698"/>
                  </a:lnTo>
                  <a:lnTo>
                    <a:pt x="3163" y="1691"/>
                  </a:lnTo>
                  <a:lnTo>
                    <a:pt x="3151" y="1677"/>
                  </a:lnTo>
                  <a:lnTo>
                    <a:pt x="3137" y="1662"/>
                  </a:lnTo>
                  <a:lnTo>
                    <a:pt x="3128" y="1651"/>
                  </a:lnTo>
                  <a:lnTo>
                    <a:pt x="3121" y="1639"/>
                  </a:lnTo>
                  <a:lnTo>
                    <a:pt x="3115" y="1625"/>
                  </a:lnTo>
                  <a:lnTo>
                    <a:pt x="3112" y="1617"/>
                  </a:lnTo>
                  <a:lnTo>
                    <a:pt x="3109" y="1612"/>
                  </a:lnTo>
                  <a:lnTo>
                    <a:pt x="3108" y="1610"/>
                  </a:lnTo>
                  <a:lnTo>
                    <a:pt x="3107" y="1609"/>
                  </a:lnTo>
                  <a:lnTo>
                    <a:pt x="3106" y="1609"/>
                  </a:lnTo>
                  <a:lnTo>
                    <a:pt x="3106" y="1610"/>
                  </a:lnTo>
                  <a:lnTo>
                    <a:pt x="3100" y="1620"/>
                  </a:lnTo>
                  <a:lnTo>
                    <a:pt x="3097" y="1626"/>
                  </a:lnTo>
                  <a:lnTo>
                    <a:pt x="3100" y="1634"/>
                  </a:lnTo>
                  <a:lnTo>
                    <a:pt x="3106" y="1646"/>
                  </a:lnTo>
                  <a:lnTo>
                    <a:pt x="3109" y="1651"/>
                  </a:lnTo>
                  <a:lnTo>
                    <a:pt x="3111" y="1658"/>
                  </a:lnTo>
                  <a:lnTo>
                    <a:pt x="3113" y="1663"/>
                  </a:lnTo>
                  <a:lnTo>
                    <a:pt x="3116" y="1668"/>
                  </a:lnTo>
                  <a:lnTo>
                    <a:pt x="3119" y="1674"/>
                  </a:lnTo>
                  <a:lnTo>
                    <a:pt x="3125" y="1679"/>
                  </a:lnTo>
                  <a:lnTo>
                    <a:pt x="3137" y="1693"/>
                  </a:lnTo>
                  <a:lnTo>
                    <a:pt x="3151" y="1707"/>
                  </a:lnTo>
                  <a:lnTo>
                    <a:pt x="3162" y="1721"/>
                  </a:lnTo>
                  <a:lnTo>
                    <a:pt x="3168" y="1727"/>
                  </a:lnTo>
                  <a:lnTo>
                    <a:pt x="3168" y="1741"/>
                  </a:lnTo>
                  <a:lnTo>
                    <a:pt x="3166" y="1750"/>
                  </a:lnTo>
                  <a:lnTo>
                    <a:pt x="3163" y="1747"/>
                  </a:lnTo>
                  <a:lnTo>
                    <a:pt x="3158" y="1742"/>
                  </a:lnTo>
                  <a:lnTo>
                    <a:pt x="3155" y="1739"/>
                  </a:lnTo>
                  <a:lnTo>
                    <a:pt x="3153" y="1738"/>
                  </a:lnTo>
                  <a:lnTo>
                    <a:pt x="3152" y="1738"/>
                  </a:lnTo>
                  <a:lnTo>
                    <a:pt x="3151" y="1738"/>
                  </a:lnTo>
                  <a:lnTo>
                    <a:pt x="3151" y="1738"/>
                  </a:lnTo>
                  <a:lnTo>
                    <a:pt x="3151" y="1739"/>
                  </a:lnTo>
                  <a:lnTo>
                    <a:pt x="3154" y="1754"/>
                  </a:lnTo>
                  <a:lnTo>
                    <a:pt x="3156" y="1764"/>
                  </a:lnTo>
                  <a:lnTo>
                    <a:pt x="3153" y="1770"/>
                  </a:lnTo>
                  <a:lnTo>
                    <a:pt x="3146" y="1781"/>
                  </a:lnTo>
                  <a:lnTo>
                    <a:pt x="3142" y="1786"/>
                  </a:lnTo>
                  <a:lnTo>
                    <a:pt x="3139" y="1790"/>
                  </a:lnTo>
                  <a:lnTo>
                    <a:pt x="3137" y="1792"/>
                  </a:lnTo>
                  <a:lnTo>
                    <a:pt x="3135" y="1792"/>
                  </a:lnTo>
                  <a:lnTo>
                    <a:pt x="3134" y="1791"/>
                  </a:lnTo>
                  <a:lnTo>
                    <a:pt x="3133" y="1791"/>
                  </a:lnTo>
                  <a:lnTo>
                    <a:pt x="3133" y="1791"/>
                  </a:lnTo>
                  <a:lnTo>
                    <a:pt x="3132" y="1792"/>
                  </a:lnTo>
                  <a:lnTo>
                    <a:pt x="3131" y="1794"/>
                  </a:lnTo>
                  <a:lnTo>
                    <a:pt x="3131" y="1797"/>
                  </a:lnTo>
                  <a:lnTo>
                    <a:pt x="3131" y="1801"/>
                  </a:lnTo>
                  <a:lnTo>
                    <a:pt x="3130" y="1805"/>
                  </a:lnTo>
                  <a:lnTo>
                    <a:pt x="3129" y="1809"/>
                  </a:lnTo>
                  <a:lnTo>
                    <a:pt x="3126" y="1811"/>
                  </a:lnTo>
                  <a:lnTo>
                    <a:pt x="3119" y="1809"/>
                  </a:lnTo>
                  <a:lnTo>
                    <a:pt x="3109" y="1802"/>
                  </a:lnTo>
                  <a:lnTo>
                    <a:pt x="3105" y="1799"/>
                  </a:lnTo>
                  <a:lnTo>
                    <a:pt x="3100" y="1794"/>
                  </a:lnTo>
                  <a:lnTo>
                    <a:pt x="3098" y="1791"/>
                  </a:lnTo>
                  <a:lnTo>
                    <a:pt x="3098" y="1789"/>
                  </a:lnTo>
                  <a:lnTo>
                    <a:pt x="3110" y="1784"/>
                  </a:lnTo>
                  <a:lnTo>
                    <a:pt x="3121" y="1780"/>
                  </a:lnTo>
                  <a:lnTo>
                    <a:pt x="3125" y="1782"/>
                  </a:lnTo>
                  <a:lnTo>
                    <a:pt x="3129" y="1785"/>
                  </a:lnTo>
                  <a:lnTo>
                    <a:pt x="3130" y="1786"/>
                  </a:lnTo>
                  <a:lnTo>
                    <a:pt x="3131" y="1787"/>
                  </a:lnTo>
                  <a:lnTo>
                    <a:pt x="3132" y="1786"/>
                  </a:lnTo>
                  <a:lnTo>
                    <a:pt x="3132" y="1785"/>
                  </a:lnTo>
                  <a:lnTo>
                    <a:pt x="3134" y="1773"/>
                  </a:lnTo>
                  <a:lnTo>
                    <a:pt x="3136" y="1764"/>
                  </a:lnTo>
                  <a:lnTo>
                    <a:pt x="3137" y="1762"/>
                  </a:lnTo>
                  <a:lnTo>
                    <a:pt x="3138" y="1758"/>
                  </a:lnTo>
                  <a:lnTo>
                    <a:pt x="3138" y="1754"/>
                  </a:lnTo>
                  <a:lnTo>
                    <a:pt x="3136" y="1749"/>
                  </a:lnTo>
                  <a:lnTo>
                    <a:pt x="3128" y="1739"/>
                  </a:lnTo>
                  <a:lnTo>
                    <a:pt x="3112" y="1722"/>
                  </a:lnTo>
                  <a:lnTo>
                    <a:pt x="3096" y="1704"/>
                  </a:lnTo>
                  <a:lnTo>
                    <a:pt x="3087" y="1693"/>
                  </a:lnTo>
                  <a:lnTo>
                    <a:pt x="3082" y="1681"/>
                  </a:lnTo>
                  <a:lnTo>
                    <a:pt x="3072" y="1662"/>
                  </a:lnTo>
                  <a:lnTo>
                    <a:pt x="3064" y="1646"/>
                  </a:lnTo>
                  <a:lnTo>
                    <a:pt x="3060" y="1638"/>
                  </a:lnTo>
                  <a:lnTo>
                    <a:pt x="3053" y="1644"/>
                  </a:lnTo>
                  <a:lnTo>
                    <a:pt x="3046" y="1652"/>
                  </a:lnTo>
                  <a:lnTo>
                    <a:pt x="3041" y="1657"/>
                  </a:lnTo>
                  <a:lnTo>
                    <a:pt x="3033" y="1667"/>
                  </a:lnTo>
                  <a:lnTo>
                    <a:pt x="3029" y="1672"/>
                  </a:lnTo>
                  <a:lnTo>
                    <a:pt x="3025" y="1675"/>
                  </a:lnTo>
                  <a:lnTo>
                    <a:pt x="3023" y="1676"/>
                  </a:lnTo>
                  <a:lnTo>
                    <a:pt x="3021" y="1677"/>
                  </a:lnTo>
                  <a:lnTo>
                    <a:pt x="3019" y="1677"/>
                  </a:lnTo>
                  <a:lnTo>
                    <a:pt x="3018" y="1676"/>
                  </a:lnTo>
                  <a:lnTo>
                    <a:pt x="3009" y="1670"/>
                  </a:lnTo>
                  <a:lnTo>
                    <a:pt x="3001" y="1663"/>
                  </a:lnTo>
                  <a:lnTo>
                    <a:pt x="2997" y="1661"/>
                  </a:lnTo>
                  <a:lnTo>
                    <a:pt x="2993" y="1660"/>
                  </a:lnTo>
                  <a:lnTo>
                    <a:pt x="2990" y="1660"/>
                  </a:lnTo>
                  <a:lnTo>
                    <a:pt x="2989" y="1661"/>
                  </a:lnTo>
                  <a:lnTo>
                    <a:pt x="2988" y="1662"/>
                  </a:lnTo>
                  <a:lnTo>
                    <a:pt x="2987" y="1664"/>
                  </a:lnTo>
                  <a:lnTo>
                    <a:pt x="2984" y="1672"/>
                  </a:lnTo>
                  <a:lnTo>
                    <a:pt x="2982" y="1677"/>
                  </a:lnTo>
                  <a:lnTo>
                    <a:pt x="2983" y="1681"/>
                  </a:lnTo>
                  <a:lnTo>
                    <a:pt x="2985" y="1684"/>
                  </a:lnTo>
                  <a:lnTo>
                    <a:pt x="2987" y="1689"/>
                  </a:lnTo>
                  <a:lnTo>
                    <a:pt x="2988" y="1693"/>
                  </a:lnTo>
                  <a:lnTo>
                    <a:pt x="2987" y="1697"/>
                  </a:lnTo>
                  <a:lnTo>
                    <a:pt x="2986" y="1699"/>
                  </a:lnTo>
                  <a:lnTo>
                    <a:pt x="2980" y="1703"/>
                  </a:lnTo>
                  <a:lnTo>
                    <a:pt x="2972" y="1712"/>
                  </a:lnTo>
                  <a:lnTo>
                    <a:pt x="2966" y="1719"/>
                  </a:lnTo>
                  <a:lnTo>
                    <a:pt x="2961" y="1725"/>
                  </a:lnTo>
                  <a:lnTo>
                    <a:pt x="2956" y="1729"/>
                  </a:lnTo>
                  <a:lnTo>
                    <a:pt x="2953" y="1733"/>
                  </a:lnTo>
                  <a:lnTo>
                    <a:pt x="2950" y="1737"/>
                  </a:lnTo>
                  <a:lnTo>
                    <a:pt x="2945" y="1743"/>
                  </a:lnTo>
                  <a:lnTo>
                    <a:pt x="2943" y="1747"/>
                  </a:lnTo>
                  <a:lnTo>
                    <a:pt x="2942" y="1751"/>
                  </a:lnTo>
                  <a:lnTo>
                    <a:pt x="2940" y="1757"/>
                  </a:lnTo>
                  <a:lnTo>
                    <a:pt x="2940" y="1762"/>
                  </a:lnTo>
                  <a:lnTo>
                    <a:pt x="2940" y="1769"/>
                  </a:lnTo>
                  <a:lnTo>
                    <a:pt x="2940" y="1772"/>
                  </a:lnTo>
                  <a:lnTo>
                    <a:pt x="2940" y="1775"/>
                  </a:lnTo>
                  <a:lnTo>
                    <a:pt x="2938" y="1780"/>
                  </a:lnTo>
                  <a:lnTo>
                    <a:pt x="2934" y="1789"/>
                  </a:lnTo>
                  <a:lnTo>
                    <a:pt x="2928" y="1800"/>
                  </a:lnTo>
                  <a:lnTo>
                    <a:pt x="2924" y="1805"/>
                  </a:lnTo>
                  <a:lnTo>
                    <a:pt x="2921" y="1810"/>
                  </a:lnTo>
                  <a:lnTo>
                    <a:pt x="2917" y="1814"/>
                  </a:lnTo>
                  <a:lnTo>
                    <a:pt x="2913" y="1817"/>
                  </a:lnTo>
                  <a:lnTo>
                    <a:pt x="2908" y="1819"/>
                  </a:lnTo>
                  <a:lnTo>
                    <a:pt x="2902" y="1821"/>
                  </a:lnTo>
                  <a:lnTo>
                    <a:pt x="2896" y="1821"/>
                  </a:lnTo>
                  <a:lnTo>
                    <a:pt x="2891" y="1822"/>
                  </a:lnTo>
                  <a:lnTo>
                    <a:pt x="2879" y="1823"/>
                  </a:lnTo>
                  <a:lnTo>
                    <a:pt x="2873" y="1825"/>
                  </a:lnTo>
                  <a:lnTo>
                    <a:pt x="2864" y="1833"/>
                  </a:lnTo>
                  <a:lnTo>
                    <a:pt x="2856" y="1836"/>
                  </a:lnTo>
                  <a:lnTo>
                    <a:pt x="2849" y="1828"/>
                  </a:lnTo>
                  <a:lnTo>
                    <a:pt x="2842" y="1820"/>
                  </a:lnTo>
                  <a:lnTo>
                    <a:pt x="2839" y="1816"/>
                  </a:lnTo>
                  <a:lnTo>
                    <a:pt x="2833" y="1814"/>
                  </a:lnTo>
                  <a:lnTo>
                    <a:pt x="2828" y="1812"/>
                  </a:lnTo>
                  <a:lnTo>
                    <a:pt x="2824" y="1813"/>
                  </a:lnTo>
                  <a:lnTo>
                    <a:pt x="2822" y="1813"/>
                  </a:lnTo>
                  <a:lnTo>
                    <a:pt x="2820" y="1812"/>
                  </a:lnTo>
                  <a:lnTo>
                    <a:pt x="2815" y="1810"/>
                  </a:lnTo>
                  <a:lnTo>
                    <a:pt x="2812" y="1808"/>
                  </a:lnTo>
                  <a:lnTo>
                    <a:pt x="2806" y="1803"/>
                  </a:lnTo>
                  <a:lnTo>
                    <a:pt x="2803" y="1800"/>
                  </a:lnTo>
                  <a:lnTo>
                    <a:pt x="2801" y="1790"/>
                  </a:lnTo>
                  <a:lnTo>
                    <a:pt x="2796" y="1773"/>
                  </a:lnTo>
                  <a:lnTo>
                    <a:pt x="2793" y="1764"/>
                  </a:lnTo>
                  <a:lnTo>
                    <a:pt x="2792" y="1755"/>
                  </a:lnTo>
                  <a:lnTo>
                    <a:pt x="2791" y="1747"/>
                  </a:lnTo>
                  <a:lnTo>
                    <a:pt x="2792" y="1741"/>
                  </a:lnTo>
                  <a:lnTo>
                    <a:pt x="2797" y="1731"/>
                  </a:lnTo>
                  <a:lnTo>
                    <a:pt x="2800" y="1718"/>
                  </a:lnTo>
                  <a:lnTo>
                    <a:pt x="2803" y="1706"/>
                  </a:lnTo>
                  <a:lnTo>
                    <a:pt x="2804" y="1698"/>
                  </a:lnTo>
                  <a:lnTo>
                    <a:pt x="2801" y="1682"/>
                  </a:lnTo>
                  <a:lnTo>
                    <a:pt x="2799" y="1674"/>
                  </a:lnTo>
                  <a:lnTo>
                    <a:pt x="2798" y="1672"/>
                  </a:lnTo>
                  <a:lnTo>
                    <a:pt x="2797" y="1667"/>
                  </a:lnTo>
                  <a:lnTo>
                    <a:pt x="2796" y="1663"/>
                  </a:lnTo>
                  <a:lnTo>
                    <a:pt x="2797" y="1660"/>
                  </a:lnTo>
                  <a:lnTo>
                    <a:pt x="2798" y="1658"/>
                  </a:lnTo>
                  <a:lnTo>
                    <a:pt x="2800" y="1655"/>
                  </a:lnTo>
                  <a:lnTo>
                    <a:pt x="2805" y="1652"/>
                  </a:lnTo>
                  <a:lnTo>
                    <a:pt x="2809" y="1647"/>
                  </a:lnTo>
                  <a:lnTo>
                    <a:pt x="2811" y="1646"/>
                  </a:lnTo>
                  <a:lnTo>
                    <a:pt x="2813" y="1644"/>
                  </a:lnTo>
                  <a:lnTo>
                    <a:pt x="2815" y="1644"/>
                  </a:lnTo>
                  <a:lnTo>
                    <a:pt x="2818" y="1645"/>
                  </a:lnTo>
                  <a:lnTo>
                    <a:pt x="2826" y="1647"/>
                  </a:lnTo>
                  <a:lnTo>
                    <a:pt x="2835" y="1648"/>
                  </a:lnTo>
                  <a:lnTo>
                    <a:pt x="2841" y="1647"/>
                  </a:lnTo>
                  <a:lnTo>
                    <a:pt x="2847" y="1646"/>
                  </a:lnTo>
                  <a:lnTo>
                    <a:pt x="2853" y="1645"/>
                  </a:lnTo>
                  <a:lnTo>
                    <a:pt x="2857" y="1646"/>
                  </a:lnTo>
                  <a:lnTo>
                    <a:pt x="2861" y="1648"/>
                  </a:lnTo>
                  <a:lnTo>
                    <a:pt x="2866" y="1650"/>
                  </a:lnTo>
                  <a:lnTo>
                    <a:pt x="2872" y="1652"/>
                  </a:lnTo>
                  <a:lnTo>
                    <a:pt x="2878" y="1652"/>
                  </a:lnTo>
                  <a:lnTo>
                    <a:pt x="2888" y="1651"/>
                  </a:lnTo>
                  <a:lnTo>
                    <a:pt x="2899" y="1651"/>
                  </a:lnTo>
                  <a:lnTo>
                    <a:pt x="2910" y="1651"/>
                  </a:lnTo>
                  <a:lnTo>
                    <a:pt x="2915" y="1649"/>
                  </a:lnTo>
                  <a:lnTo>
                    <a:pt x="2917" y="1642"/>
                  </a:lnTo>
                  <a:lnTo>
                    <a:pt x="2921" y="1630"/>
                  </a:lnTo>
                  <a:lnTo>
                    <a:pt x="2922" y="1623"/>
                  </a:lnTo>
                  <a:lnTo>
                    <a:pt x="2923" y="1614"/>
                  </a:lnTo>
                  <a:lnTo>
                    <a:pt x="2923" y="1607"/>
                  </a:lnTo>
                  <a:lnTo>
                    <a:pt x="2922" y="1602"/>
                  </a:lnTo>
                  <a:lnTo>
                    <a:pt x="2920" y="1590"/>
                  </a:lnTo>
                  <a:lnTo>
                    <a:pt x="2917" y="1579"/>
                  </a:lnTo>
                  <a:lnTo>
                    <a:pt x="2916" y="1573"/>
                  </a:lnTo>
                  <a:lnTo>
                    <a:pt x="2915" y="1569"/>
                  </a:lnTo>
                  <a:lnTo>
                    <a:pt x="2913" y="1566"/>
                  </a:lnTo>
                  <a:lnTo>
                    <a:pt x="2911" y="1564"/>
                  </a:lnTo>
                  <a:lnTo>
                    <a:pt x="2901" y="1553"/>
                  </a:lnTo>
                  <a:lnTo>
                    <a:pt x="2886" y="1536"/>
                  </a:lnTo>
                  <a:lnTo>
                    <a:pt x="2871" y="1518"/>
                  </a:lnTo>
                  <a:lnTo>
                    <a:pt x="2865" y="1510"/>
                  </a:lnTo>
                  <a:lnTo>
                    <a:pt x="2869" y="1507"/>
                  </a:lnTo>
                  <a:lnTo>
                    <a:pt x="2876" y="1503"/>
                  </a:lnTo>
                  <a:lnTo>
                    <a:pt x="2884" y="1506"/>
                  </a:lnTo>
                  <a:lnTo>
                    <a:pt x="2896" y="1512"/>
                  </a:lnTo>
                  <a:lnTo>
                    <a:pt x="2901" y="1515"/>
                  </a:lnTo>
                  <a:lnTo>
                    <a:pt x="2907" y="1516"/>
                  </a:lnTo>
                  <a:lnTo>
                    <a:pt x="2908" y="1517"/>
                  </a:lnTo>
                  <a:lnTo>
                    <a:pt x="2909" y="1517"/>
                  </a:lnTo>
                  <a:lnTo>
                    <a:pt x="2910" y="1516"/>
                  </a:lnTo>
                  <a:lnTo>
                    <a:pt x="2909" y="1515"/>
                  </a:lnTo>
                  <a:lnTo>
                    <a:pt x="2906" y="1508"/>
                  </a:lnTo>
                  <a:lnTo>
                    <a:pt x="2905" y="1499"/>
                  </a:lnTo>
                  <a:lnTo>
                    <a:pt x="2904" y="1492"/>
                  </a:lnTo>
                  <a:lnTo>
                    <a:pt x="2905" y="1488"/>
                  </a:lnTo>
                  <a:lnTo>
                    <a:pt x="2915" y="1488"/>
                  </a:lnTo>
                  <a:lnTo>
                    <a:pt x="2924" y="1487"/>
                  </a:lnTo>
                  <a:lnTo>
                    <a:pt x="2930" y="1487"/>
                  </a:lnTo>
                  <a:lnTo>
                    <a:pt x="2938" y="1484"/>
                  </a:lnTo>
                  <a:lnTo>
                    <a:pt x="2942" y="1482"/>
                  </a:lnTo>
                  <a:lnTo>
                    <a:pt x="2945" y="1480"/>
                  </a:lnTo>
                  <a:lnTo>
                    <a:pt x="2949" y="1478"/>
                  </a:lnTo>
                  <a:lnTo>
                    <a:pt x="2950" y="1475"/>
                  </a:lnTo>
                  <a:lnTo>
                    <a:pt x="2957" y="1460"/>
                  </a:lnTo>
                  <a:lnTo>
                    <a:pt x="2964" y="1447"/>
                  </a:lnTo>
                  <a:lnTo>
                    <a:pt x="2966" y="1443"/>
                  </a:lnTo>
                  <a:lnTo>
                    <a:pt x="2968" y="1438"/>
                  </a:lnTo>
                  <a:lnTo>
                    <a:pt x="2973" y="1433"/>
                  </a:lnTo>
                  <a:lnTo>
                    <a:pt x="2978" y="1428"/>
                  </a:lnTo>
                  <a:lnTo>
                    <a:pt x="2981" y="1422"/>
                  </a:lnTo>
                  <a:lnTo>
                    <a:pt x="2984" y="1415"/>
                  </a:lnTo>
                  <a:lnTo>
                    <a:pt x="2987" y="1407"/>
                  </a:lnTo>
                  <a:lnTo>
                    <a:pt x="2990" y="1396"/>
                  </a:lnTo>
                  <a:lnTo>
                    <a:pt x="2995" y="1378"/>
                  </a:lnTo>
                  <a:lnTo>
                    <a:pt x="2997" y="1371"/>
                  </a:lnTo>
                  <a:lnTo>
                    <a:pt x="2998" y="1366"/>
                  </a:lnTo>
                  <a:lnTo>
                    <a:pt x="3002" y="1355"/>
                  </a:lnTo>
                  <a:lnTo>
                    <a:pt x="3004" y="1350"/>
                  </a:lnTo>
                  <a:lnTo>
                    <a:pt x="3006" y="1346"/>
                  </a:lnTo>
                  <a:lnTo>
                    <a:pt x="3008" y="1343"/>
                  </a:lnTo>
                  <a:lnTo>
                    <a:pt x="3009" y="1343"/>
                  </a:lnTo>
                  <a:lnTo>
                    <a:pt x="3009" y="1349"/>
                  </a:lnTo>
                  <a:lnTo>
                    <a:pt x="3009" y="1361"/>
                  </a:lnTo>
                  <a:lnTo>
                    <a:pt x="3009" y="1365"/>
                  </a:lnTo>
                  <a:lnTo>
                    <a:pt x="3010" y="1369"/>
                  </a:lnTo>
                  <a:lnTo>
                    <a:pt x="3010" y="1370"/>
                  </a:lnTo>
                  <a:lnTo>
                    <a:pt x="3010" y="1371"/>
                  </a:lnTo>
                  <a:lnTo>
                    <a:pt x="3011" y="1372"/>
                  </a:lnTo>
                  <a:lnTo>
                    <a:pt x="3012" y="1371"/>
                  </a:lnTo>
                  <a:lnTo>
                    <a:pt x="3016" y="1369"/>
                  </a:lnTo>
                  <a:lnTo>
                    <a:pt x="3019" y="1365"/>
                  </a:lnTo>
                  <a:lnTo>
                    <a:pt x="3021" y="1361"/>
                  </a:lnTo>
                  <a:lnTo>
                    <a:pt x="3023" y="1358"/>
                  </a:lnTo>
                  <a:lnTo>
                    <a:pt x="3024" y="1351"/>
                  </a:lnTo>
                  <a:lnTo>
                    <a:pt x="3026" y="1340"/>
                  </a:lnTo>
                  <a:lnTo>
                    <a:pt x="3027" y="1333"/>
                  </a:lnTo>
                  <a:lnTo>
                    <a:pt x="3027" y="1327"/>
                  </a:lnTo>
                  <a:lnTo>
                    <a:pt x="3026" y="1321"/>
                  </a:lnTo>
                  <a:lnTo>
                    <a:pt x="3025" y="1315"/>
                  </a:lnTo>
                  <a:lnTo>
                    <a:pt x="3023" y="1302"/>
                  </a:lnTo>
                  <a:lnTo>
                    <a:pt x="3023" y="1288"/>
                  </a:lnTo>
                  <a:lnTo>
                    <a:pt x="3023" y="1281"/>
                  </a:lnTo>
                  <a:lnTo>
                    <a:pt x="3024" y="1276"/>
                  </a:lnTo>
                  <a:lnTo>
                    <a:pt x="3025" y="1272"/>
                  </a:lnTo>
                  <a:lnTo>
                    <a:pt x="3026" y="1269"/>
                  </a:lnTo>
                  <a:lnTo>
                    <a:pt x="3030" y="1264"/>
                  </a:lnTo>
                  <a:lnTo>
                    <a:pt x="3037" y="1255"/>
                  </a:lnTo>
                  <a:lnTo>
                    <a:pt x="3040" y="1251"/>
                  </a:lnTo>
                  <a:lnTo>
                    <a:pt x="3043" y="1249"/>
                  </a:lnTo>
                  <a:lnTo>
                    <a:pt x="3044" y="1247"/>
                  </a:lnTo>
                  <a:lnTo>
                    <a:pt x="3045" y="1247"/>
                  </a:lnTo>
                  <a:lnTo>
                    <a:pt x="3046" y="1247"/>
                  </a:lnTo>
                  <a:lnTo>
                    <a:pt x="3047" y="1249"/>
                  </a:lnTo>
                  <a:lnTo>
                    <a:pt x="3050" y="1260"/>
                  </a:lnTo>
                  <a:lnTo>
                    <a:pt x="3056" y="1275"/>
                  </a:lnTo>
                  <a:lnTo>
                    <a:pt x="3060" y="1281"/>
                  </a:lnTo>
                  <a:lnTo>
                    <a:pt x="3063" y="1286"/>
                  </a:lnTo>
                  <a:lnTo>
                    <a:pt x="3064" y="1288"/>
                  </a:lnTo>
                  <a:lnTo>
                    <a:pt x="3066" y="1289"/>
                  </a:lnTo>
                  <a:lnTo>
                    <a:pt x="3067" y="1289"/>
                  </a:lnTo>
                  <a:lnTo>
                    <a:pt x="3068" y="1289"/>
                  </a:lnTo>
                  <a:lnTo>
                    <a:pt x="3070" y="1286"/>
                  </a:lnTo>
                  <a:lnTo>
                    <a:pt x="3071" y="1283"/>
                  </a:lnTo>
                  <a:lnTo>
                    <a:pt x="3071" y="1280"/>
                  </a:lnTo>
                  <a:lnTo>
                    <a:pt x="3070" y="1278"/>
                  </a:lnTo>
                  <a:lnTo>
                    <a:pt x="3066" y="1266"/>
                  </a:lnTo>
                  <a:lnTo>
                    <a:pt x="3060" y="1253"/>
                  </a:lnTo>
                  <a:lnTo>
                    <a:pt x="3058" y="1243"/>
                  </a:lnTo>
                  <a:lnTo>
                    <a:pt x="3054" y="1229"/>
                  </a:lnTo>
                  <a:lnTo>
                    <a:pt x="3051" y="1215"/>
                  </a:lnTo>
                  <a:lnTo>
                    <a:pt x="3049" y="1209"/>
                  </a:lnTo>
                  <a:lnTo>
                    <a:pt x="3048" y="1208"/>
                  </a:lnTo>
                  <a:lnTo>
                    <a:pt x="3046" y="1207"/>
                  </a:lnTo>
                  <a:lnTo>
                    <a:pt x="3044" y="1207"/>
                  </a:lnTo>
                  <a:lnTo>
                    <a:pt x="3041" y="1209"/>
                  </a:lnTo>
                  <a:lnTo>
                    <a:pt x="3034" y="1220"/>
                  </a:lnTo>
                  <a:lnTo>
                    <a:pt x="3025" y="1233"/>
                  </a:lnTo>
                  <a:lnTo>
                    <a:pt x="3022" y="1235"/>
                  </a:lnTo>
                  <a:lnTo>
                    <a:pt x="3020" y="1236"/>
                  </a:lnTo>
                  <a:lnTo>
                    <a:pt x="3017" y="1237"/>
                  </a:lnTo>
                  <a:lnTo>
                    <a:pt x="3014" y="1237"/>
                  </a:lnTo>
                  <a:lnTo>
                    <a:pt x="3008" y="1236"/>
                  </a:lnTo>
                  <a:lnTo>
                    <a:pt x="3005" y="1235"/>
                  </a:lnTo>
                  <a:lnTo>
                    <a:pt x="2999" y="1227"/>
                  </a:lnTo>
                  <a:lnTo>
                    <a:pt x="2985" y="1206"/>
                  </a:lnTo>
                  <a:lnTo>
                    <a:pt x="2979" y="1194"/>
                  </a:lnTo>
                  <a:lnTo>
                    <a:pt x="2973" y="1183"/>
                  </a:lnTo>
                  <a:lnTo>
                    <a:pt x="2968" y="1174"/>
                  </a:lnTo>
                  <a:lnTo>
                    <a:pt x="2967" y="1168"/>
                  </a:lnTo>
                  <a:lnTo>
                    <a:pt x="2968" y="1163"/>
                  </a:lnTo>
                  <a:lnTo>
                    <a:pt x="2971" y="1161"/>
                  </a:lnTo>
                  <a:lnTo>
                    <a:pt x="2971" y="1159"/>
                  </a:lnTo>
                  <a:lnTo>
                    <a:pt x="2971" y="1158"/>
                  </a:lnTo>
                  <a:lnTo>
                    <a:pt x="2971" y="1157"/>
                  </a:lnTo>
                  <a:lnTo>
                    <a:pt x="2970" y="1155"/>
                  </a:lnTo>
                  <a:lnTo>
                    <a:pt x="2967" y="1151"/>
                  </a:lnTo>
                  <a:lnTo>
                    <a:pt x="2964" y="1146"/>
                  </a:lnTo>
                  <a:lnTo>
                    <a:pt x="2963" y="1141"/>
                  </a:lnTo>
                  <a:lnTo>
                    <a:pt x="2962" y="1136"/>
                  </a:lnTo>
                  <a:lnTo>
                    <a:pt x="2960" y="1124"/>
                  </a:lnTo>
                  <a:lnTo>
                    <a:pt x="2961" y="1114"/>
                  </a:lnTo>
                  <a:lnTo>
                    <a:pt x="2962" y="1109"/>
                  </a:lnTo>
                  <a:lnTo>
                    <a:pt x="2963" y="1100"/>
                  </a:lnTo>
                  <a:lnTo>
                    <a:pt x="2965" y="1089"/>
                  </a:lnTo>
                  <a:lnTo>
                    <a:pt x="2967" y="1083"/>
                  </a:lnTo>
                  <a:lnTo>
                    <a:pt x="2971" y="1076"/>
                  </a:lnTo>
                  <a:lnTo>
                    <a:pt x="2976" y="1064"/>
                  </a:lnTo>
                  <a:lnTo>
                    <a:pt x="2981" y="1052"/>
                  </a:lnTo>
                  <a:lnTo>
                    <a:pt x="2985" y="1043"/>
                  </a:lnTo>
                  <a:lnTo>
                    <a:pt x="2990" y="1037"/>
                  </a:lnTo>
                  <a:lnTo>
                    <a:pt x="2996" y="1029"/>
                  </a:lnTo>
                  <a:lnTo>
                    <a:pt x="2999" y="1024"/>
                  </a:lnTo>
                  <a:lnTo>
                    <a:pt x="3002" y="1021"/>
                  </a:lnTo>
                  <a:lnTo>
                    <a:pt x="3004" y="1020"/>
                  </a:lnTo>
                  <a:lnTo>
                    <a:pt x="3006" y="1019"/>
                  </a:lnTo>
                  <a:lnTo>
                    <a:pt x="3008" y="1020"/>
                  </a:lnTo>
                  <a:lnTo>
                    <a:pt x="3010" y="1019"/>
                  </a:lnTo>
                  <a:lnTo>
                    <a:pt x="3011" y="1015"/>
                  </a:lnTo>
                  <a:lnTo>
                    <a:pt x="3012" y="1008"/>
                  </a:lnTo>
                  <a:lnTo>
                    <a:pt x="3012" y="1004"/>
                  </a:lnTo>
                  <a:lnTo>
                    <a:pt x="3015" y="1002"/>
                  </a:lnTo>
                  <a:lnTo>
                    <a:pt x="3016" y="1001"/>
                  </a:lnTo>
                  <a:lnTo>
                    <a:pt x="3018" y="1001"/>
                  </a:lnTo>
                  <a:lnTo>
                    <a:pt x="3019" y="1001"/>
                  </a:lnTo>
                  <a:lnTo>
                    <a:pt x="3021" y="1000"/>
                  </a:lnTo>
                  <a:lnTo>
                    <a:pt x="3021" y="998"/>
                  </a:lnTo>
                  <a:lnTo>
                    <a:pt x="3021" y="995"/>
                  </a:lnTo>
                  <a:lnTo>
                    <a:pt x="3018" y="983"/>
                  </a:lnTo>
                  <a:lnTo>
                    <a:pt x="3016" y="972"/>
                  </a:lnTo>
                  <a:lnTo>
                    <a:pt x="3015" y="964"/>
                  </a:lnTo>
                  <a:lnTo>
                    <a:pt x="3015" y="958"/>
                  </a:lnTo>
                  <a:lnTo>
                    <a:pt x="3017" y="948"/>
                  </a:lnTo>
                  <a:lnTo>
                    <a:pt x="3021" y="935"/>
                  </a:lnTo>
                  <a:lnTo>
                    <a:pt x="3023" y="931"/>
                  </a:lnTo>
                  <a:lnTo>
                    <a:pt x="3026" y="926"/>
                  </a:lnTo>
                  <a:lnTo>
                    <a:pt x="3027" y="920"/>
                  </a:lnTo>
                  <a:lnTo>
                    <a:pt x="3028" y="915"/>
                  </a:lnTo>
                  <a:lnTo>
                    <a:pt x="3030" y="907"/>
                  </a:lnTo>
                  <a:lnTo>
                    <a:pt x="3030" y="900"/>
                  </a:lnTo>
                  <a:lnTo>
                    <a:pt x="3028" y="896"/>
                  </a:lnTo>
                  <a:lnTo>
                    <a:pt x="3027" y="893"/>
                  </a:lnTo>
                  <a:lnTo>
                    <a:pt x="3025" y="891"/>
                  </a:lnTo>
                  <a:lnTo>
                    <a:pt x="3023" y="890"/>
                  </a:lnTo>
                  <a:lnTo>
                    <a:pt x="3020" y="892"/>
                  </a:lnTo>
                  <a:lnTo>
                    <a:pt x="3017" y="895"/>
                  </a:lnTo>
                  <a:lnTo>
                    <a:pt x="3016" y="895"/>
                  </a:lnTo>
                  <a:lnTo>
                    <a:pt x="3014" y="894"/>
                  </a:lnTo>
                  <a:lnTo>
                    <a:pt x="3012" y="894"/>
                  </a:lnTo>
                  <a:lnTo>
                    <a:pt x="3011" y="895"/>
                  </a:lnTo>
                  <a:lnTo>
                    <a:pt x="3011" y="896"/>
                  </a:lnTo>
                  <a:lnTo>
                    <a:pt x="3011" y="899"/>
                  </a:lnTo>
                  <a:lnTo>
                    <a:pt x="3015" y="907"/>
                  </a:lnTo>
                  <a:lnTo>
                    <a:pt x="3016" y="909"/>
                  </a:lnTo>
                  <a:lnTo>
                    <a:pt x="3014" y="909"/>
                  </a:lnTo>
                  <a:lnTo>
                    <a:pt x="3009" y="906"/>
                  </a:lnTo>
                  <a:lnTo>
                    <a:pt x="3007" y="902"/>
                  </a:lnTo>
                  <a:lnTo>
                    <a:pt x="3004" y="898"/>
                  </a:lnTo>
                  <a:lnTo>
                    <a:pt x="3004" y="894"/>
                  </a:lnTo>
                  <a:lnTo>
                    <a:pt x="3004" y="892"/>
                  </a:lnTo>
                  <a:lnTo>
                    <a:pt x="3004" y="890"/>
                  </a:lnTo>
                  <a:lnTo>
                    <a:pt x="3005" y="888"/>
                  </a:lnTo>
                  <a:lnTo>
                    <a:pt x="3010" y="880"/>
                  </a:lnTo>
                  <a:lnTo>
                    <a:pt x="3014" y="873"/>
                  </a:lnTo>
                  <a:lnTo>
                    <a:pt x="3015" y="866"/>
                  </a:lnTo>
                  <a:lnTo>
                    <a:pt x="3017" y="857"/>
                  </a:lnTo>
                  <a:lnTo>
                    <a:pt x="3021" y="849"/>
                  </a:lnTo>
                  <a:lnTo>
                    <a:pt x="3024" y="846"/>
                  </a:lnTo>
                  <a:lnTo>
                    <a:pt x="3026" y="847"/>
                  </a:lnTo>
                  <a:lnTo>
                    <a:pt x="3028" y="848"/>
                  </a:lnTo>
                  <a:lnTo>
                    <a:pt x="3030" y="848"/>
                  </a:lnTo>
                  <a:lnTo>
                    <a:pt x="3031" y="847"/>
                  </a:lnTo>
                  <a:lnTo>
                    <a:pt x="3037" y="842"/>
                  </a:lnTo>
                  <a:lnTo>
                    <a:pt x="3041" y="838"/>
                  </a:lnTo>
                  <a:lnTo>
                    <a:pt x="3041" y="835"/>
                  </a:lnTo>
                  <a:lnTo>
                    <a:pt x="3041" y="828"/>
                  </a:lnTo>
                  <a:lnTo>
                    <a:pt x="3041" y="825"/>
                  </a:lnTo>
                  <a:lnTo>
                    <a:pt x="3042" y="823"/>
                  </a:lnTo>
                  <a:lnTo>
                    <a:pt x="3043" y="822"/>
                  </a:lnTo>
                  <a:lnTo>
                    <a:pt x="3044" y="822"/>
                  </a:lnTo>
                  <a:lnTo>
                    <a:pt x="3045" y="822"/>
                  </a:lnTo>
                  <a:lnTo>
                    <a:pt x="3046" y="823"/>
                  </a:lnTo>
                  <a:lnTo>
                    <a:pt x="3051" y="826"/>
                  </a:lnTo>
                  <a:lnTo>
                    <a:pt x="3056" y="829"/>
                  </a:lnTo>
                  <a:lnTo>
                    <a:pt x="3059" y="832"/>
                  </a:lnTo>
                  <a:lnTo>
                    <a:pt x="3060" y="833"/>
                  </a:lnTo>
                  <a:lnTo>
                    <a:pt x="3061" y="832"/>
                  </a:lnTo>
                  <a:lnTo>
                    <a:pt x="3062" y="830"/>
                  </a:lnTo>
                  <a:lnTo>
                    <a:pt x="3063" y="826"/>
                  </a:lnTo>
                  <a:lnTo>
                    <a:pt x="3065" y="823"/>
                  </a:lnTo>
                  <a:lnTo>
                    <a:pt x="3069" y="823"/>
                  </a:lnTo>
                  <a:lnTo>
                    <a:pt x="3076" y="825"/>
                  </a:lnTo>
                  <a:lnTo>
                    <a:pt x="3085" y="828"/>
                  </a:lnTo>
                  <a:lnTo>
                    <a:pt x="3090" y="833"/>
                  </a:lnTo>
                  <a:lnTo>
                    <a:pt x="3100" y="841"/>
                  </a:lnTo>
                  <a:lnTo>
                    <a:pt x="3107" y="845"/>
                  </a:lnTo>
                  <a:lnTo>
                    <a:pt x="3109" y="847"/>
                  </a:lnTo>
                  <a:lnTo>
                    <a:pt x="3115" y="856"/>
                  </a:lnTo>
                  <a:lnTo>
                    <a:pt x="3120" y="861"/>
                  </a:lnTo>
                  <a:lnTo>
                    <a:pt x="3127" y="869"/>
                  </a:lnTo>
                  <a:lnTo>
                    <a:pt x="3130" y="873"/>
                  </a:lnTo>
                  <a:lnTo>
                    <a:pt x="3132" y="877"/>
                  </a:lnTo>
                  <a:lnTo>
                    <a:pt x="3133" y="881"/>
                  </a:lnTo>
                  <a:lnTo>
                    <a:pt x="3133" y="883"/>
                  </a:lnTo>
                  <a:lnTo>
                    <a:pt x="3132" y="889"/>
                  </a:lnTo>
                  <a:lnTo>
                    <a:pt x="3133" y="892"/>
                  </a:lnTo>
                  <a:lnTo>
                    <a:pt x="3134" y="894"/>
                  </a:lnTo>
                  <a:lnTo>
                    <a:pt x="3136" y="899"/>
                  </a:lnTo>
                  <a:lnTo>
                    <a:pt x="3138" y="901"/>
                  </a:lnTo>
                  <a:lnTo>
                    <a:pt x="3139" y="902"/>
                  </a:lnTo>
                  <a:lnTo>
                    <a:pt x="3140" y="902"/>
                  </a:lnTo>
                  <a:lnTo>
                    <a:pt x="3141" y="902"/>
                  </a:lnTo>
                  <a:lnTo>
                    <a:pt x="3142" y="901"/>
                  </a:lnTo>
                  <a:lnTo>
                    <a:pt x="3143" y="901"/>
                  </a:lnTo>
                  <a:lnTo>
                    <a:pt x="3144" y="901"/>
                  </a:lnTo>
                  <a:lnTo>
                    <a:pt x="3146" y="902"/>
                  </a:lnTo>
                  <a:lnTo>
                    <a:pt x="3148" y="905"/>
                  </a:lnTo>
                  <a:lnTo>
                    <a:pt x="3151" y="909"/>
                  </a:lnTo>
                  <a:lnTo>
                    <a:pt x="3160" y="922"/>
                  </a:lnTo>
                  <a:lnTo>
                    <a:pt x="3171" y="934"/>
                  </a:lnTo>
                  <a:lnTo>
                    <a:pt x="3175" y="943"/>
                  </a:lnTo>
                  <a:lnTo>
                    <a:pt x="3181" y="952"/>
                  </a:lnTo>
                  <a:lnTo>
                    <a:pt x="3187" y="963"/>
                  </a:lnTo>
                  <a:lnTo>
                    <a:pt x="3194" y="973"/>
                  </a:lnTo>
                  <a:lnTo>
                    <a:pt x="3198" y="982"/>
                  </a:lnTo>
                  <a:lnTo>
                    <a:pt x="3203" y="992"/>
                  </a:lnTo>
                  <a:lnTo>
                    <a:pt x="3207" y="1000"/>
                  </a:lnTo>
                  <a:lnTo>
                    <a:pt x="3210" y="1007"/>
                  </a:lnTo>
                  <a:lnTo>
                    <a:pt x="3216" y="1015"/>
                  </a:lnTo>
                  <a:lnTo>
                    <a:pt x="3221" y="1026"/>
                  </a:lnTo>
                  <a:lnTo>
                    <a:pt x="3225" y="1038"/>
                  </a:lnTo>
                  <a:lnTo>
                    <a:pt x="3228" y="1047"/>
                  </a:lnTo>
                  <a:lnTo>
                    <a:pt x="3229" y="1057"/>
                  </a:lnTo>
                  <a:lnTo>
                    <a:pt x="3228" y="1062"/>
                  </a:lnTo>
                  <a:lnTo>
                    <a:pt x="3228" y="1062"/>
                  </a:lnTo>
                  <a:lnTo>
                    <a:pt x="3227" y="1063"/>
                  </a:lnTo>
                  <a:lnTo>
                    <a:pt x="3226" y="1063"/>
                  </a:lnTo>
                  <a:lnTo>
                    <a:pt x="3225" y="1061"/>
                  </a:lnTo>
                  <a:lnTo>
                    <a:pt x="3221" y="1057"/>
                  </a:lnTo>
                  <a:lnTo>
                    <a:pt x="3216" y="1048"/>
                  </a:lnTo>
                  <a:lnTo>
                    <a:pt x="3203" y="1034"/>
                  </a:lnTo>
                  <a:lnTo>
                    <a:pt x="3195" y="1022"/>
                  </a:lnTo>
                  <a:lnTo>
                    <a:pt x="3194" y="1022"/>
                  </a:lnTo>
                  <a:lnTo>
                    <a:pt x="3192" y="1021"/>
                  </a:lnTo>
                  <a:lnTo>
                    <a:pt x="3192" y="1021"/>
                  </a:lnTo>
                  <a:lnTo>
                    <a:pt x="3194" y="1026"/>
                  </a:lnTo>
                  <a:lnTo>
                    <a:pt x="3201" y="1040"/>
                  </a:lnTo>
                  <a:lnTo>
                    <a:pt x="3205" y="1045"/>
                  </a:lnTo>
                  <a:lnTo>
                    <a:pt x="3206" y="1046"/>
                  </a:lnTo>
                  <a:lnTo>
                    <a:pt x="3208" y="1047"/>
                  </a:lnTo>
                  <a:lnTo>
                    <a:pt x="3210" y="1052"/>
                  </a:lnTo>
                  <a:lnTo>
                    <a:pt x="3212" y="1058"/>
                  </a:lnTo>
                  <a:lnTo>
                    <a:pt x="3212" y="1063"/>
                  </a:lnTo>
                  <a:lnTo>
                    <a:pt x="3212" y="1066"/>
                  </a:lnTo>
                  <a:lnTo>
                    <a:pt x="3213" y="1068"/>
                  </a:lnTo>
                  <a:lnTo>
                    <a:pt x="3215" y="1073"/>
                  </a:lnTo>
                  <a:lnTo>
                    <a:pt x="3218" y="1083"/>
                  </a:lnTo>
                  <a:lnTo>
                    <a:pt x="3221" y="1090"/>
                  </a:lnTo>
                  <a:lnTo>
                    <a:pt x="3224" y="1098"/>
                  </a:lnTo>
                  <a:lnTo>
                    <a:pt x="3228" y="1106"/>
                  </a:lnTo>
                  <a:lnTo>
                    <a:pt x="3233" y="1112"/>
                  </a:lnTo>
                  <a:lnTo>
                    <a:pt x="3236" y="1120"/>
                  </a:lnTo>
                  <a:lnTo>
                    <a:pt x="3238" y="1125"/>
                  </a:lnTo>
                  <a:lnTo>
                    <a:pt x="3240" y="1127"/>
                  </a:lnTo>
                  <a:lnTo>
                    <a:pt x="3240" y="1121"/>
                  </a:lnTo>
                  <a:lnTo>
                    <a:pt x="3239" y="1113"/>
                  </a:lnTo>
                  <a:lnTo>
                    <a:pt x="3235" y="1107"/>
                  </a:lnTo>
                  <a:lnTo>
                    <a:pt x="3229" y="1100"/>
                  </a:lnTo>
                  <a:lnTo>
                    <a:pt x="3226" y="1092"/>
                  </a:lnTo>
                  <a:lnTo>
                    <a:pt x="3224" y="1085"/>
                  </a:lnTo>
                  <a:lnTo>
                    <a:pt x="3223" y="1081"/>
                  </a:lnTo>
                  <a:lnTo>
                    <a:pt x="3223" y="1078"/>
                  </a:lnTo>
                  <a:lnTo>
                    <a:pt x="3224" y="1078"/>
                  </a:lnTo>
                  <a:lnTo>
                    <a:pt x="3228" y="1084"/>
                  </a:lnTo>
                  <a:lnTo>
                    <a:pt x="3235" y="1096"/>
                  </a:lnTo>
                  <a:lnTo>
                    <a:pt x="3239" y="1104"/>
                  </a:lnTo>
                  <a:lnTo>
                    <a:pt x="3243" y="1113"/>
                  </a:lnTo>
                  <a:lnTo>
                    <a:pt x="3245" y="1118"/>
                  </a:lnTo>
                  <a:lnTo>
                    <a:pt x="3245" y="1109"/>
                  </a:lnTo>
                  <a:lnTo>
                    <a:pt x="3242" y="1101"/>
                  </a:lnTo>
                  <a:lnTo>
                    <a:pt x="3239" y="1092"/>
                  </a:lnTo>
                  <a:lnTo>
                    <a:pt x="3236" y="1085"/>
                  </a:lnTo>
                  <a:lnTo>
                    <a:pt x="3236" y="1077"/>
                  </a:lnTo>
                  <a:lnTo>
                    <a:pt x="3236" y="1070"/>
                  </a:lnTo>
                  <a:lnTo>
                    <a:pt x="3235" y="1060"/>
                  </a:lnTo>
                  <a:lnTo>
                    <a:pt x="3231" y="1049"/>
                  </a:lnTo>
                  <a:lnTo>
                    <a:pt x="3233" y="1049"/>
                  </a:lnTo>
                  <a:lnTo>
                    <a:pt x="3237" y="1059"/>
                  </a:lnTo>
                  <a:lnTo>
                    <a:pt x="3240" y="1068"/>
                  </a:lnTo>
                  <a:lnTo>
                    <a:pt x="3241" y="1071"/>
                  </a:lnTo>
                  <a:lnTo>
                    <a:pt x="3245" y="1081"/>
                  </a:lnTo>
                  <a:lnTo>
                    <a:pt x="3247" y="1086"/>
                  </a:lnTo>
                  <a:lnTo>
                    <a:pt x="3245" y="1079"/>
                  </a:lnTo>
                  <a:lnTo>
                    <a:pt x="3241" y="1067"/>
                  </a:lnTo>
                  <a:lnTo>
                    <a:pt x="3239" y="1061"/>
                  </a:lnTo>
                  <a:lnTo>
                    <a:pt x="3236" y="1054"/>
                  </a:lnTo>
                  <a:lnTo>
                    <a:pt x="3233" y="1047"/>
                  </a:lnTo>
                  <a:lnTo>
                    <a:pt x="3229" y="1039"/>
                  </a:lnTo>
                  <a:lnTo>
                    <a:pt x="3227" y="1033"/>
                  </a:lnTo>
                  <a:lnTo>
                    <a:pt x="3226" y="1030"/>
                  </a:lnTo>
                  <a:lnTo>
                    <a:pt x="3225" y="1025"/>
                  </a:lnTo>
                  <a:lnTo>
                    <a:pt x="3221" y="1017"/>
                  </a:lnTo>
                  <a:lnTo>
                    <a:pt x="3217" y="1007"/>
                  </a:lnTo>
                  <a:lnTo>
                    <a:pt x="3214" y="999"/>
                  </a:lnTo>
                  <a:lnTo>
                    <a:pt x="3214" y="999"/>
                  </a:lnTo>
                  <a:lnTo>
                    <a:pt x="3217" y="1005"/>
                  </a:lnTo>
                  <a:lnTo>
                    <a:pt x="3221" y="1013"/>
                  </a:lnTo>
                  <a:lnTo>
                    <a:pt x="3225" y="1022"/>
                  </a:lnTo>
                  <a:lnTo>
                    <a:pt x="3229" y="1032"/>
                  </a:lnTo>
                  <a:lnTo>
                    <a:pt x="3231" y="1038"/>
                  </a:lnTo>
                  <a:lnTo>
                    <a:pt x="3234" y="1042"/>
                  </a:lnTo>
                  <a:lnTo>
                    <a:pt x="3235" y="1044"/>
                  </a:lnTo>
                  <a:lnTo>
                    <a:pt x="3234" y="1045"/>
                  </a:lnTo>
                  <a:lnTo>
                    <a:pt x="3235" y="1048"/>
                  </a:lnTo>
                  <a:lnTo>
                    <a:pt x="3238" y="1054"/>
                  </a:lnTo>
                  <a:lnTo>
                    <a:pt x="3241" y="1061"/>
                  </a:lnTo>
                  <a:lnTo>
                    <a:pt x="3243" y="1065"/>
                  </a:lnTo>
                  <a:lnTo>
                    <a:pt x="3244" y="1067"/>
                  </a:lnTo>
                  <a:lnTo>
                    <a:pt x="3243" y="1066"/>
                  </a:lnTo>
                  <a:lnTo>
                    <a:pt x="3242" y="1062"/>
                  </a:lnTo>
                  <a:lnTo>
                    <a:pt x="3240" y="1056"/>
                  </a:lnTo>
                  <a:lnTo>
                    <a:pt x="3238" y="1053"/>
                  </a:lnTo>
                  <a:lnTo>
                    <a:pt x="3239" y="1053"/>
                  </a:lnTo>
                  <a:close/>
                  <a:moveTo>
                    <a:pt x="1425" y="939"/>
                  </a:moveTo>
                  <a:lnTo>
                    <a:pt x="1427" y="944"/>
                  </a:lnTo>
                  <a:lnTo>
                    <a:pt x="1430" y="946"/>
                  </a:lnTo>
                  <a:lnTo>
                    <a:pt x="1431" y="946"/>
                  </a:lnTo>
                  <a:lnTo>
                    <a:pt x="1434" y="946"/>
                  </a:lnTo>
                  <a:lnTo>
                    <a:pt x="1435" y="946"/>
                  </a:lnTo>
                  <a:lnTo>
                    <a:pt x="1437" y="944"/>
                  </a:lnTo>
                  <a:lnTo>
                    <a:pt x="1441" y="938"/>
                  </a:lnTo>
                  <a:lnTo>
                    <a:pt x="1444" y="933"/>
                  </a:lnTo>
                  <a:lnTo>
                    <a:pt x="1445" y="930"/>
                  </a:lnTo>
                  <a:lnTo>
                    <a:pt x="1445" y="928"/>
                  </a:lnTo>
                  <a:lnTo>
                    <a:pt x="1444" y="927"/>
                  </a:lnTo>
                  <a:lnTo>
                    <a:pt x="1442" y="927"/>
                  </a:lnTo>
                  <a:lnTo>
                    <a:pt x="1435" y="928"/>
                  </a:lnTo>
                  <a:lnTo>
                    <a:pt x="1430" y="929"/>
                  </a:lnTo>
                  <a:lnTo>
                    <a:pt x="1427" y="932"/>
                  </a:lnTo>
                  <a:lnTo>
                    <a:pt x="1424" y="935"/>
                  </a:lnTo>
                  <a:lnTo>
                    <a:pt x="1424" y="937"/>
                  </a:lnTo>
                  <a:lnTo>
                    <a:pt x="1425" y="939"/>
                  </a:lnTo>
                  <a:close/>
                  <a:moveTo>
                    <a:pt x="1380" y="999"/>
                  </a:moveTo>
                  <a:lnTo>
                    <a:pt x="1381" y="1004"/>
                  </a:lnTo>
                  <a:lnTo>
                    <a:pt x="1382" y="1010"/>
                  </a:lnTo>
                  <a:lnTo>
                    <a:pt x="1383" y="1011"/>
                  </a:lnTo>
                  <a:lnTo>
                    <a:pt x="1384" y="1012"/>
                  </a:lnTo>
                  <a:lnTo>
                    <a:pt x="1385" y="1012"/>
                  </a:lnTo>
                  <a:lnTo>
                    <a:pt x="1387" y="1012"/>
                  </a:lnTo>
                  <a:lnTo>
                    <a:pt x="1393" y="1008"/>
                  </a:lnTo>
                  <a:lnTo>
                    <a:pt x="1398" y="1004"/>
                  </a:lnTo>
                  <a:lnTo>
                    <a:pt x="1399" y="1002"/>
                  </a:lnTo>
                  <a:lnTo>
                    <a:pt x="1401" y="999"/>
                  </a:lnTo>
                  <a:lnTo>
                    <a:pt x="1401" y="997"/>
                  </a:lnTo>
                  <a:lnTo>
                    <a:pt x="1400" y="994"/>
                  </a:lnTo>
                  <a:lnTo>
                    <a:pt x="1399" y="987"/>
                  </a:lnTo>
                  <a:lnTo>
                    <a:pt x="1398" y="981"/>
                  </a:lnTo>
                  <a:lnTo>
                    <a:pt x="1397" y="980"/>
                  </a:lnTo>
                  <a:lnTo>
                    <a:pt x="1396" y="979"/>
                  </a:lnTo>
                  <a:lnTo>
                    <a:pt x="1395" y="980"/>
                  </a:lnTo>
                  <a:lnTo>
                    <a:pt x="1392" y="982"/>
                  </a:lnTo>
                  <a:lnTo>
                    <a:pt x="1383" y="993"/>
                  </a:lnTo>
                  <a:lnTo>
                    <a:pt x="1380" y="999"/>
                  </a:lnTo>
                  <a:close/>
                  <a:moveTo>
                    <a:pt x="1293" y="983"/>
                  </a:moveTo>
                  <a:lnTo>
                    <a:pt x="1296" y="991"/>
                  </a:lnTo>
                  <a:lnTo>
                    <a:pt x="1300" y="995"/>
                  </a:lnTo>
                  <a:lnTo>
                    <a:pt x="1305" y="997"/>
                  </a:lnTo>
                  <a:lnTo>
                    <a:pt x="1309" y="997"/>
                  </a:lnTo>
                  <a:lnTo>
                    <a:pt x="1313" y="996"/>
                  </a:lnTo>
                  <a:lnTo>
                    <a:pt x="1317" y="994"/>
                  </a:lnTo>
                  <a:lnTo>
                    <a:pt x="1320" y="992"/>
                  </a:lnTo>
                  <a:lnTo>
                    <a:pt x="1323" y="989"/>
                  </a:lnTo>
                  <a:lnTo>
                    <a:pt x="1332" y="982"/>
                  </a:lnTo>
                  <a:lnTo>
                    <a:pt x="1341" y="974"/>
                  </a:lnTo>
                  <a:lnTo>
                    <a:pt x="1344" y="970"/>
                  </a:lnTo>
                  <a:lnTo>
                    <a:pt x="1347" y="966"/>
                  </a:lnTo>
                  <a:lnTo>
                    <a:pt x="1347" y="965"/>
                  </a:lnTo>
                  <a:lnTo>
                    <a:pt x="1347" y="964"/>
                  </a:lnTo>
                  <a:lnTo>
                    <a:pt x="1344" y="963"/>
                  </a:lnTo>
                  <a:lnTo>
                    <a:pt x="1342" y="961"/>
                  </a:lnTo>
                  <a:lnTo>
                    <a:pt x="1332" y="959"/>
                  </a:lnTo>
                  <a:lnTo>
                    <a:pt x="1322" y="959"/>
                  </a:lnTo>
                  <a:lnTo>
                    <a:pt x="1318" y="959"/>
                  </a:lnTo>
                  <a:lnTo>
                    <a:pt x="1315" y="961"/>
                  </a:lnTo>
                  <a:lnTo>
                    <a:pt x="1313" y="964"/>
                  </a:lnTo>
                  <a:lnTo>
                    <a:pt x="1311" y="967"/>
                  </a:lnTo>
                  <a:lnTo>
                    <a:pt x="1310" y="970"/>
                  </a:lnTo>
                  <a:lnTo>
                    <a:pt x="1308" y="974"/>
                  </a:lnTo>
                  <a:lnTo>
                    <a:pt x="1305" y="976"/>
                  </a:lnTo>
                  <a:lnTo>
                    <a:pt x="1301" y="979"/>
                  </a:lnTo>
                  <a:lnTo>
                    <a:pt x="1296" y="982"/>
                  </a:lnTo>
                  <a:lnTo>
                    <a:pt x="1293" y="983"/>
                  </a:lnTo>
                  <a:close/>
                  <a:moveTo>
                    <a:pt x="1449" y="732"/>
                  </a:moveTo>
                  <a:lnTo>
                    <a:pt x="1446" y="740"/>
                  </a:lnTo>
                  <a:lnTo>
                    <a:pt x="1445" y="749"/>
                  </a:lnTo>
                  <a:lnTo>
                    <a:pt x="1445" y="753"/>
                  </a:lnTo>
                  <a:lnTo>
                    <a:pt x="1447" y="756"/>
                  </a:lnTo>
                  <a:lnTo>
                    <a:pt x="1450" y="759"/>
                  </a:lnTo>
                  <a:lnTo>
                    <a:pt x="1457" y="762"/>
                  </a:lnTo>
                  <a:lnTo>
                    <a:pt x="1463" y="764"/>
                  </a:lnTo>
                  <a:lnTo>
                    <a:pt x="1470" y="764"/>
                  </a:lnTo>
                  <a:lnTo>
                    <a:pt x="1475" y="764"/>
                  </a:lnTo>
                  <a:lnTo>
                    <a:pt x="1481" y="762"/>
                  </a:lnTo>
                  <a:lnTo>
                    <a:pt x="1486" y="760"/>
                  </a:lnTo>
                  <a:lnTo>
                    <a:pt x="1490" y="757"/>
                  </a:lnTo>
                  <a:lnTo>
                    <a:pt x="1492" y="753"/>
                  </a:lnTo>
                  <a:lnTo>
                    <a:pt x="1494" y="749"/>
                  </a:lnTo>
                  <a:lnTo>
                    <a:pt x="1495" y="745"/>
                  </a:lnTo>
                  <a:lnTo>
                    <a:pt x="1494" y="738"/>
                  </a:lnTo>
                  <a:lnTo>
                    <a:pt x="1493" y="733"/>
                  </a:lnTo>
                  <a:lnTo>
                    <a:pt x="1491" y="728"/>
                  </a:lnTo>
                  <a:lnTo>
                    <a:pt x="1489" y="724"/>
                  </a:lnTo>
                  <a:lnTo>
                    <a:pt x="1486" y="720"/>
                  </a:lnTo>
                  <a:lnTo>
                    <a:pt x="1483" y="718"/>
                  </a:lnTo>
                  <a:lnTo>
                    <a:pt x="1480" y="718"/>
                  </a:lnTo>
                  <a:lnTo>
                    <a:pt x="1472" y="720"/>
                  </a:lnTo>
                  <a:lnTo>
                    <a:pt x="1466" y="723"/>
                  </a:lnTo>
                  <a:lnTo>
                    <a:pt x="1464" y="725"/>
                  </a:lnTo>
                  <a:lnTo>
                    <a:pt x="1461" y="726"/>
                  </a:lnTo>
                  <a:lnTo>
                    <a:pt x="1460" y="728"/>
                  </a:lnTo>
                  <a:lnTo>
                    <a:pt x="1458" y="730"/>
                  </a:lnTo>
                  <a:lnTo>
                    <a:pt x="1457" y="733"/>
                  </a:lnTo>
                  <a:lnTo>
                    <a:pt x="1456" y="732"/>
                  </a:lnTo>
                  <a:lnTo>
                    <a:pt x="1456" y="731"/>
                  </a:lnTo>
                  <a:lnTo>
                    <a:pt x="1454" y="729"/>
                  </a:lnTo>
                  <a:lnTo>
                    <a:pt x="1452" y="728"/>
                  </a:lnTo>
                  <a:lnTo>
                    <a:pt x="1450" y="729"/>
                  </a:lnTo>
                  <a:lnTo>
                    <a:pt x="1449" y="731"/>
                  </a:lnTo>
                  <a:lnTo>
                    <a:pt x="1449" y="732"/>
                  </a:lnTo>
                  <a:close/>
                  <a:moveTo>
                    <a:pt x="1193" y="200"/>
                  </a:moveTo>
                  <a:lnTo>
                    <a:pt x="1200" y="204"/>
                  </a:lnTo>
                  <a:lnTo>
                    <a:pt x="1207" y="206"/>
                  </a:lnTo>
                  <a:lnTo>
                    <a:pt x="1215" y="207"/>
                  </a:lnTo>
                  <a:lnTo>
                    <a:pt x="1221" y="208"/>
                  </a:lnTo>
                  <a:lnTo>
                    <a:pt x="1225" y="208"/>
                  </a:lnTo>
                  <a:lnTo>
                    <a:pt x="1227" y="210"/>
                  </a:lnTo>
                  <a:lnTo>
                    <a:pt x="1227" y="212"/>
                  </a:lnTo>
                  <a:lnTo>
                    <a:pt x="1223" y="215"/>
                  </a:lnTo>
                  <a:lnTo>
                    <a:pt x="1217" y="219"/>
                  </a:lnTo>
                  <a:lnTo>
                    <a:pt x="1210" y="221"/>
                  </a:lnTo>
                  <a:lnTo>
                    <a:pt x="1206" y="222"/>
                  </a:lnTo>
                  <a:lnTo>
                    <a:pt x="1202" y="222"/>
                  </a:lnTo>
                  <a:lnTo>
                    <a:pt x="1200" y="223"/>
                  </a:lnTo>
                  <a:lnTo>
                    <a:pt x="1200" y="223"/>
                  </a:lnTo>
                  <a:lnTo>
                    <a:pt x="1202" y="224"/>
                  </a:lnTo>
                  <a:lnTo>
                    <a:pt x="1207" y="227"/>
                  </a:lnTo>
                  <a:lnTo>
                    <a:pt x="1213" y="230"/>
                  </a:lnTo>
                  <a:lnTo>
                    <a:pt x="1220" y="232"/>
                  </a:lnTo>
                  <a:lnTo>
                    <a:pt x="1225" y="233"/>
                  </a:lnTo>
                  <a:lnTo>
                    <a:pt x="1231" y="232"/>
                  </a:lnTo>
                  <a:lnTo>
                    <a:pt x="1237" y="231"/>
                  </a:lnTo>
                  <a:lnTo>
                    <a:pt x="1241" y="230"/>
                  </a:lnTo>
                  <a:lnTo>
                    <a:pt x="1244" y="228"/>
                  </a:lnTo>
                  <a:lnTo>
                    <a:pt x="1245" y="226"/>
                  </a:lnTo>
                  <a:lnTo>
                    <a:pt x="1247" y="221"/>
                  </a:lnTo>
                  <a:lnTo>
                    <a:pt x="1249" y="213"/>
                  </a:lnTo>
                  <a:lnTo>
                    <a:pt x="1251" y="210"/>
                  </a:lnTo>
                  <a:lnTo>
                    <a:pt x="1252" y="208"/>
                  </a:lnTo>
                  <a:lnTo>
                    <a:pt x="1255" y="207"/>
                  </a:lnTo>
                  <a:lnTo>
                    <a:pt x="1257" y="208"/>
                  </a:lnTo>
                  <a:lnTo>
                    <a:pt x="1261" y="220"/>
                  </a:lnTo>
                  <a:lnTo>
                    <a:pt x="1264" y="225"/>
                  </a:lnTo>
                  <a:lnTo>
                    <a:pt x="1266" y="224"/>
                  </a:lnTo>
                  <a:lnTo>
                    <a:pt x="1268" y="222"/>
                  </a:lnTo>
                  <a:lnTo>
                    <a:pt x="1269" y="219"/>
                  </a:lnTo>
                  <a:lnTo>
                    <a:pt x="1271" y="215"/>
                  </a:lnTo>
                  <a:lnTo>
                    <a:pt x="1273" y="209"/>
                  </a:lnTo>
                  <a:lnTo>
                    <a:pt x="1274" y="206"/>
                  </a:lnTo>
                  <a:lnTo>
                    <a:pt x="1276" y="201"/>
                  </a:lnTo>
                  <a:lnTo>
                    <a:pt x="1277" y="194"/>
                  </a:lnTo>
                  <a:lnTo>
                    <a:pt x="1278" y="191"/>
                  </a:lnTo>
                  <a:lnTo>
                    <a:pt x="1279" y="188"/>
                  </a:lnTo>
                  <a:lnTo>
                    <a:pt x="1282" y="186"/>
                  </a:lnTo>
                  <a:lnTo>
                    <a:pt x="1285" y="186"/>
                  </a:lnTo>
                  <a:lnTo>
                    <a:pt x="1292" y="185"/>
                  </a:lnTo>
                  <a:lnTo>
                    <a:pt x="1300" y="183"/>
                  </a:lnTo>
                  <a:lnTo>
                    <a:pt x="1308" y="181"/>
                  </a:lnTo>
                  <a:lnTo>
                    <a:pt x="1312" y="179"/>
                  </a:lnTo>
                  <a:lnTo>
                    <a:pt x="1323" y="174"/>
                  </a:lnTo>
                  <a:lnTo>
                    <a:pt x="1336" y="166"/>
                  </a:lnTo>
                  <a:lnTo>
                    <a:pt x="1335" y="164"/>
                  </a:lnTo>
                  <a:lnTo>
                    <a:pt x="1332" y="161"/>
                  </a:lnTo>
                  <a:lnTo>
                    <a:pt x="1327" y="158"/>
                  </a:lnTo>
                  <a:lnTo>
                    <a:pt x="1320" y="157"/>
                  </a:lnTo>
                  <a:lnTo>
                    <a:pt x="1313" y="158"/>
                  </a:lnTo>
                  <a:lnTo>
                    <a:pt x="1308" y="158"/>
                  </a:lnTo>
                  <a:lnTo>
                    <a:pt x="1306" y="158"/>
                  </a:lnTo>
                  <a:lnTo>
                    <a:pt x="1304" y="157"/>
                  </a:lnTo>
                  <a:lnTo>
                    <a:pt x="1303" y="157"/>
                  </a:lnTo>
                  <a:lnTo>
                    <a:pt x="1301" y="155"/>
                  </a:lnTo>
                  <a:lnTo>
                    <a:pt x="1305" y="152"/>
                  </a:lnTo>
                  <a:lnTo>
                    <a:pt x="1309" y="148"/>
                  </a:lnTo>
                  <a:lnTo>
                    <a:pt x="1310" y="146"/>
                  </a:lnTo>
                  <a:lnTo>
                    <a:pt x="1311" y="145"/>
                  </a:lnTo>
                  <a:lnTo>
                    <a:pt x="1311" y="143"/>
                  </a:lnTo>
                  <a:lnTo>
                    <a:pt x="1309" y="142"/>
                  </a:lnTo>
                  <a:lnTo>
                    <a:pt x="1299" y="140"/>
                  </a:lnTo>
                  <a:lnTo>
                    <a:pt x="1289" y="138"/>
                  </a:lnTo>
                  <a:lnTo>
                    <a:pt x="1285" y="137"/>
                  </a:lnTo>
                  <a:lnTo>
                    <a:pt x="1281" y="136"/>
                  </a:lnTo>
                  <a:lnTo>
                    <a:pt x="1278" y="135"/>
                  </a:lnTo>
                  <a:lnTo>
                    <a:pt x="1278" y="133"/>
                  </a:lnTo>
                  <a:lnTo>
                    <a:pt x="1281" y="128"/>
                  </a:lnTo>
                  <a:lnTo>
                    <a:pt x="1282" y="123"/>
                  </a:lnTo>
                  <a:lnTo>
                    <a:pt x="1282" y="121"/>
                  </a:lnTo>
                  <a:lnTo>
                    <a:pt x="1282" y="119"/>
                  </a:lnTo>
                  <a:lnTo>
                    <a:pt x="1281" y="118"/>
                  </a:lnTo>
                  <a:lnTo>
                    <a:pt x="1278" y="117"/>
                  </a:lnTo>
                  <a:lnTo>
                    <a:pt x="1270" y="116"/>
                  </a:lnTo>
                  <a:lnTo>
                    <a:pt x="1262" y="114"/>
                  </a:lnTo>
                  <a:lnTo>
                    <a:pt x="1255" y="113"/>
                  </a:lnTo>
                  <a:lnTo>
                    <a:pt x="1253" y="110"/>
                  </a:lnTo>
                  <a:lnTo>
                    <a:pt x="1253" y="106"/>
                  </a:lnTo>
                  <a:lnTo>
                    <a:pt x="1254" y="100"/>
                  </a:lnTo>
                  <a:lnTo>
                    <a:pt x="1253" y="95"/>
                  </a:lnTo>
                  <a:lnTo>
                    <a:pt x="1252" y="93"/>
                  </a:lnTo>
                  <a:lnTo>
                    <a:pt x="1250" y="92"/>
                  </a:lnTo>
                  <a:lnTo>
                    <a:pt x="1246" y="90"/>
                  </a:lnTo>
                  <a:lnTo>
                    <a:pt x="1241" y="89"/>
                  </a:lnTo>
                  <a:lnTo>
                    <a:pt x="1235" y="90"/>
                  </a:lnTo>
                  <a:lnTo>
                    <a:pt x="1225" y="93"/>
                  </a:lnTo>
                  <a:lnTo>
                    <a:pt x="1220" y="95"/>
                  </a:lnTo>
                  <a:lnTo>
                    <a:pt x="1228" y="95"/>
                  </a:lnTo>
                  <a:lnTo>
                    <a:pt x="1232" y="96"/>
                  </a:lnTo>
                  <a:lnTo>
                    <a:pt x="1232" y="97"/>
                  </a:lnTo>
                  <a:lnTo>
                    <a:pt x="1231" y="98"/>
                  </a:lnTo>
                  <a:lnTo>
                    <a:pt x="1230" y="100"/>
                  </a:lnTo>
                  <a:lnTo>
                    <a:pt x="1225" y="102"/>
                  </a:lnTo>
                  <a:lnTo>
                    <a:pt x="1219" y="106"/>
                  </a:lnTo>
                  <a:lnTo>
                    <a:pt x="1212" y="110"/>
                  </a:lnTo>
                  <a:lnTo>
                    <a:pt x="1208" y="112"/>
                  </a:lnTo>
                  <a:lnTo>
                    <a:pt x="1208" y="114"/>
                  </a:lnTo>
                  <a:lnTo>
                    <a:pt x="1212" y="116"/>
                  </a:lnTo>
                  <a:lnTo>
                    <a:pt x="1218" y="118"/>
                  </a:lnTo>
                  <a:lnTo>
                    <a:pt x="1219" y="120"/>
                  </a:lnTo>
                  <a:lnTo>
                    <a:pt x="1221" y="121"/>
                  </a:lnTo>
                  <a:lnTo>
                    <a:pt x="1221" y="122"/>
                  </a:lnTo>
                  <a:lnTo>
                    <a:pt x="1219" y="122"/>
                  </a:lnTo>
                  <a:lnTo>
                    <a:pt x="1205" y="123"/>
                  </a:lnTo>
                  <a:lnTo>
                    <a:pt x="1197" y="124"/>
                  </a:lnTo>
                  <a:lnTo>
                    <a:pt x="1193" y="126"/>
                  </a:lnTo>
                  <a:lnTo>
                    <a:pt x="1189" y="130"/>
                  </a:lnTo>
                  <a:lnTo>
                    <a:pt x="1200" y="136"/>
                  </a:lnTo>
                  <a:lnTo>
                    <a:pt x="1208" y="141"/>
                  </a:lnTo>
                  <a:lnTo>
                    <a:pt x="1207" y="143"/>
                  </a:lnTo>
                  <a:lnTo>
                    <a:pt x="1199" y="148"/>
                  </a:lnTo>
                  <a:lnTo>
                    <a:pt x="1193" y="152"/>
                  </a:lnTo>
                  <a:lnTo>
                    <a:pt x="1186" y="154"/>
                  </a:lnTo>
                  <a:lnTo>
                    <a:pt x="1184" y="155"/>
                  </a:lnTo>
                  <a:lnTo>
                    <a:pt x="1183" y="155"/>
                  </a:lnTo>
                  <a:lnTo>
                    <a:pt x="1182" y="154"/>
                  </a:lnTo>
                  <a:lnTo>
                    <a:pt x="1182" y="153"/>
                  </a:lnTo>
                  <a:lnTo>
                    <a:pt x="1181" y="150"/>
                  </a:lnTo>
                  <a:lnTo>
                    <a:pt x="1180" y="147"/>
                  </a:lnTo>
                  <a:lnTo>
                    <a:pt x="1179" y="147"/>
                  </a:lnTo>
                  <a:lnTo>
                    <a:pt x="1178" y="147"/>
                  </a:lnTo>
                  <a:lnTo>
                    <a:pt x="1177" y="147"/>
                  </a:lnTo>
                  <a:lnTo>
                    <a:pt x="1175" y="148"/>
                  </a:lnTo>
                  <a:lnTo>
                    <a:pt x="1172" y="152"/>
                  </a:lnTo>
                  <a:lnTo>
                    <a:pt x="1171" y="154"/>
                  </a:lnTo>
                  <a:lnTo>
                    <a:pt x="1169" y="157"/>
                  </a:lnTo>
                  <a:lnTo>
                    <a:pt x="1169" y="159"/>
                  </a:lnTo>
                  <a:lnTo>
                    <a:pt x="1171" y="161"/>
                  </a:lnTo>
                  <a:lnTo>
                    <a:pt x="1174" y="162"/>
                  </a:lnTo>
                  <a:lnTo>
                    <a:pt x="1177" y="163"/>
                  </a:lnTo>
                  <a:lnTo>
                    <a:pt x="1182" y="164"/>
                  </a:lnTo>
                  <a:lnTo>
                    <a:pt x="1190" y="166"/>
                  </a:lnTo>
                  <a:lnTo>
                    <a:pt x="1204" y="168"/>
                  </a:lnTo>
                  <a:lnTo>
                    <a:pt x="1207" y="168"/>
                  </a:lnTo>
                  <a:lnTo>
                    <a:pt x="1207" y="168"/>
                  </a:lnTo>
                  <a:lnTo>
                    <a:pt x="1204" y="169"/>
                  </a:lnTo>
                  <a:lnTo>
                    <a:pt x="1199" y="169"/>
                  </a:lnTo>
                  <a:lnTo>
                    <a:pt x="1188" y="171"/>
                  </a:lnTo>
                  <a:lnTo>
                    <a:pt x="1181" y="175"/>
                  </a:lnTo>
                  <a:lnTo>
                    <a:pt x="1181" y="177"/>
                  </a:lnTo>
                  <a:lnTo>
                    <a:pt x="1183" y="178"/>
                  </a:lnTo>
                  <a:lnTo>
                    <a:pt x="1185" y="179"/>
                  </a:lnTo>
                  <a:lnTo>
                    <a:pt x="1188" y="180"/>
                  </a:lnTo>
                  <a:lnTo>
                    <a:pt x="1195" y="181"/>
                  </a:lnTo>
                  <a:lnTo>
                    <a:pt x="1200" y="180"/>
                  </a:lnTo>
                  <a:lnTo>
                    <a:pt x="1211" y="175"/>
                  </a:lnTo>
                  <a:lnTo>
                    <a:pt x="1222" y="169"/>
                  </a:lnTo>
                  <a:lnTo>
                    <a:pt x="1225" y="168"/>
                  </a:lnTo>
                  <a:lnTo>
                    <a:pt x="1230" y="168"/>
                  </a:lnTo>
                  <a:lnTo>
                    <a:pt x="1232" y="168"/>
                  </a:lnTo>
                  <a:lnTo>
                    <a:pt x="1234" y="168"/>
                  </a:lnTo>
                  <a:lnTo>
                    <a:pt x="1235" y="170"/>
                  </a:lnTo>
                  <a:lnTo>
                    <a:pt x="1235" y="171"/>
                  </a:lnTo>
                  <a:lnTo>
                    <a:pt x="1239" y="178"/>
                  </a:lnTo>
                  <a:lnTo>
                    <a:pt x="1241" y="181"/>
                  </a:lnTo>
                  <a:lnTo>
                    <a:pt x="1229" y="185"/>
                  </a:lnTo>
                  <a:lnTo>
                    <a:pt x="1215" y="187"/>
                  </a:lnTo>
                  <a:lnTo>
                    <a:pt x="1199" y="193"/>
                  </a:lnTo>
                  <a:lnTo>
                    <a:pt x="1185" y="199"/>
                  </a:lnTo>
                  <a:lnTo>
                    <a:pt x="1188" y="200"/>
                  </a:lnTo>
                  <a:lnTo>
                    <a:pt x="1193" y="200"/>
                  </a:lnTo>
                  <a:close/>
                  <a:moveTo>
                    <a:pt x="1086" y="398"/>
                  </a:moveTo>
                  <a:lnTo>
                    <a:pt x="1089" y="395"/>
                  </a:lnTo>
                  <a:lnTo>
                    <a:pt x="1093" y="389"/>
                  </a:lnTo>
                  <a:lnTo>
                    <a:pt x="1096" y="384"/>
                  </a:lnTo>
                  <a:lnTo>
                    <a:pt x="1100" y="378"/>
                  </a:lnTo>
                  <a:lnTo>
                    <a:pt x="1103" y="371"/>
                  </a:lnTo>
                  <a:lnTo>
                    <a:pt x="1106" y="364"/>
                  </a:lnTo>
                  <a:lnTo>
                    <a:pt x="1107" y="359"/>
                  </a:lnTo>
                  <a:lnTo>
                    <a:pt x="1107" y="354"/>
                  </a:lnTo>
                  <a:lnTo>
                    <a:pt x="1103" y="346"/>
                  </a:lnTo>
                  <a:lnTo>
                    <a:pt x="1101" y="337"/>
                  </a:lnTo>
                  <a:lnTo>
                    <a:pt x="1099" y="334"/>
                  </a:lnTo>
                  <a:lnTo>
                    <a:pt x="1097" y="331"/>
                  </a:lnTo>
                  <a:lnTo>
                    <a:pt x="1094" y="330"/>
                  </a:lnTo>
                  <a:lnTo>
                    <a:pt x="1090" y="330"/>
                  </a:lnTo>
                  <a:lnTo>
                    <a:pt x="1083" y="334"/>
                  </a:lnTo>
                  <a:lnTo>
                    <a:pt x="1076" y="339"/>
                  </a:lnTo>
                  <a:lnTo>
                    <a:pt x="1073" y="340"/>
                  </a:lnTo>
                  <a:lnTo>
                    <a:pt x="1071" y="341"/>
                  </a:lnTo>
                  <a:lnTo>
                    <a:pt x="1069" y="341"/>
                  </a:lnTo>
                  <a:lnTo>
                    <a:pt x="1067" y="338"/>
                  </a:lnTo>
                  <a:lnTo>
                    <a:pt x="1062" y="332"/>
                  </a:lnTo>
                  <a:lnTo>
                    <a:pt x="1056" y="328"/>
                  </a:lnTo>
                  <a:lnTo>
                    <a:pt x="1054" y="327"/>
                  </a:lnTo>
                  <a:lnTo>
                    <a:pt x="1051" y="327"/>
                  </a:lnTo>
                  <a:lnTo>
                    <a:pt x="1048" y="328"/>
                  </a:lnTo>
                  <a:lnTo>
                    <a:pt x="1046" y="331"/>
                  </a:lnTo>
                  <a:lnTo>
                    <a:pt x="1044" y="335"/>
                  </a:lnTo>
                  <a:lnTo>
                    <a:pt x="1044" y="339"/>
                  </a:lnTo>
                  <a:lnTo>
                    <a:pt x="1045" y="343"/>
                  </a:lnTo>
                  <a:lnTo>
                    <a:pt x="1046" y="347"/>
                  </a:lnTo>
                  <a:lnTo>
                    <a:pt x="1049" y="355"/>
                  </a:lnTo>
                  <a:lnTo>
                    <a:pt x="1048" y="360"/>
                  </a:lnTo>
                  <a:lnTo>
                    <a:pt x="1042" y="362"/>
                  </a:lnTo>
                  <a:lnTo>
                    <a:pt x="1032" y="363"/>
                  </a:lnTo>
                  <a:lnTo>
                    <a:pt x="1027" y="363"/>
                  </a:lnTo>
                  <a:lnTo>
                    <a:pt x="1022" y="363"/>
                  </a:lnTo>
                  <a:lnTo>
                    <a:pt x="1019" y="361"/>
                  </a:lnTo>
                  <a:lnTo>
                    <a:pt x="1015" y="360"/>
                  </a:lnTo>
                  <a:lnTo>
                    <a:pt x="1013" y="353"/>
                  </a:lnTo>
                  <a:lnTo>
                    <a:pt x="1011" y="345"/>
                  </a:lnTo>
                  <a:lnTo>
                    <a:pt x="1010" y="343"/>
                  </a:lnTo>
                  <a:lnTo>
                    <a:pt x="1008" y="341"/>
                  </a:lnTo>
                  <a:lnTo>
                    <a:pt x="1006" y="342"/>
                  </a:lnTo>
                  <a:lnTo>
                    <a:pt x="1002" y="344"/>
                  </a:lnTo>
                  <a:lnTo>
                    <a:pt x="999" y="349"/>
                  </a:lnTo>
                  <a:lnTo>
                    <a:pt x="996" y="353"/>
                  </a:lnTo>
                  <a:lnTo>
                    <a:pt x="995" y="356"/>
                  </a:lnTo>
                  <a:lnTo>
                    <a:pt x="995" y="359"/>
                  </a:lnTo>
                  <a:lnTo>
                    <a:pt x="997" y="364"/>
                  </a:lnTo>
                  <a:lnTo>
                    <a:pt x="1000" y="367"/>
                  </a:lnTo>
                  <a:lnTo>
                    <a:pt x="1002" y="368"/>
                  </a:lnTo>
                  <a:lnTo>
                    <a:pt x="1005" y="368"/>
                  </a:lnTo>
                  <a:lnTo>
                    <a:pt x="1009" y="368"/>
                  </a:lnTo>
                  <a:lnTo>
                    <a:pt x="1013" y="367"/>
                  </a:lnTo>
                  <a:lnTo>
                    <a:pt x="1017" y="366"/>
                  </a:lnTo>
                  <a:lnTo>
                    <a:pt x="1020" y="367"/>
                  </a:lnTo>
                  <a:lnTo>
                    <a:pt x="1021" y="367"/>
                  </a:lnTo>
                  <a:lnTo>
                    <a:pt x="1021" y="368"/>
                  </a:lnTo>
                  <a:lnTo>
                    <a:pt x="1021" y="371"/>
                  </a:lnTo>
                  <a:lnTo>
                    <a:pt x="1020" y="373"/>
                  </a:lnTo>
                  <a:lnTo>
                    <a:pt x="1017" y="380"/>
                  </a:lnTo>
                  <a:lnTo>
                    <a:pt x="1013" y="386"/>
                  </a:lnTo>
                  <a:lnTo>
                    <a:pt x="1013" y="388"/>
                  </a:lnTo>
                  <a:lnTo>
                    <a:pt x="1013" y="389"/>
                  </a:lnTo>
                  <a:lnTo>
                    <a:pt x="1013" y="390"/>
                  </a:lnTo>
                  <a:lnTo>
                    <a:pt x="1014" y="391"/>
                  </a:lnTo>
                  <a:lnTo>
                    <a:pt x="1028" y="385"/>
                  </a:lnTo>
                  <a:lnTo>
                    <a:pt x="1043" y="380"/>
                  </a:lnTo>
                  <a:lnTo>
                    <a:pt x="1047" y="381"/>
                  </a:lnTo>
                  <a:lnTo>
                    <a:pt x="1050" y="385"/>
                  </a:lnTo>
                  <a:lnTo>
                    <a:pt x="1051" y="387"/>
                  </a:lnTo>
                  <a:lnTo>
                    <a:pt x="1051" y="389"/>
                  </a:lnTo>
                  <a:lnTo>
                    <a:pt x="1051" y="391"/>
                  </a:lnTo>
                  <a:lnTo>
                    <a:pt x="1049" y="394"/>
                  </a:lnTo>
                  <a:lnTo>
                    <a:pt x="1045" y="400"/>
                  </a:lnTo>
                  <a:lnTo>
                    <a:pt x="1040" y="406"/>
                  </a:lnTo>
                  <a:lnTo>
                    <a:pt x="1036" y="410"/>
                  </a:lnTo>
                  <a:lnTo>
                    <a:pt x="1035" y="413"/>
                  </a:lnTo>
                  <a:lnTo>
                    <a:pt x="1035" y="416"/>
                  </a:lnTo>
                  <a:lnTo>
                    <a:pt x="1036" y="419"/>
                  </a:lnTo>
                  <a:lnTo>
                    <a:pt x="1040" y="420"/>
                  </a:lnTo>
                  <a:lnTo>
                    <a:pt x="1043" y="421"/>
                  </a:lnTo>
                  <a:lnTo>
                    <a:pt x="1047" y="422"/>
                  </a:lnTo>
                  <a:lnTo>
                    <a:pt x="1051" y="423"/>
                  </a:lnTo>
                  <a:lnTo>
                    <a:pt x="1055" y="422"/>
                  </a:lnTo>
                  <a:lnTo>
                    <a:pt x="1058" y="422"/>
                  </a:lnTo>
                  <a:lnTo>
                    <a:pt x="1063" y="420"/>
                  </a:lnTo>
                  <a:lnTo>
                    <a:pt x="1067" y="418"/>
                  </a:lnTo>
                  <a:lnTo>
                    <a:pt x="1079" y="405"/>
                  </a:lnTo>
                  <a:lnTo>
                    <a:pt x="1086" y="398"/>
                  </a:lnTo>
                  <a:close/>
                  <a:moveTo>
                    <a:pt x="1127" y="303"/>
                  </a:moveTo>
                  <a:lnTo>
                    <a:pt x="1119" y="305"/>
                  </a:lnTo>
                  <a:lnTo>
                    <a:pt x="1113" y="307"/>
                  </a:lnTo>
                  <a:lnTo>
                    <a:pt x="1113" y="309"/>
                  </a:lnTo>
                  <a:lnTo>
                    <a:pt x="1114" y="312"/>
                  </a:lnTo>
                  <a:lnTo>
                    <a:pt x="1116" y="315"/>
                  </a:lnTo>
                  <a:lnTo>
                    <a:pt x="1119" y="317"/>
                  </a:lnTo>
                  <a:lnTo>
                    <a:pt x="1127" y="324"/>
                  </a:lnTo>
                  <a:lnTo>
                    <a:pt x="1131" y="332"/>
                  </a:lnTo>
                  <a:lnTo>
                    <a:pt x="1135" y="338"/>
                  </a:lnTo>
                  <a:lnTo>
                    <a:pt x="1140" y="344"/>
                  </a:lnTo>
                  <a:lnTo>
                    <a:pt x="1141" y="347"/>
                  </a:lnTo>
                  <a:lnTo>
                    <a:pt x="1143" y="350"/>
                  </a:lnTo>
                  <a:lnTo>
                    <a:pt x="1144" y="352"/>
                  </a:lnTo>
                  <a:lnTo>
                    <a:pt x="1145" y="353"/>
                  </a:lnTo>
                  <a:lnTo>
                    <a:pt x="1144" y="355"/>
                  </a:lnTo>
                  <a:lnTo>
                    <a:pt x="1143" y="358"/>
                  </a:lnTo>
                  <a:lnTo>
                    <a:pt x="1139" y="366"/>
                  </a:lnTo>
                  <a:lnTo>
                    <a:pt x="1131" y="376"/>
                  </a:lnTo>
                  <a:lnTo>
                    <a:pt x="1123" y="383"/>
                  </a:lnTo>
                  <a:lnTo>
                    <a:pt x="1119" y="389"/>
                  </a:lnTo>
                  <a:lnTo>
                    <a:pt x="1115" y="391"/>
                  </a:lnTo>
                  <a:lnTo>
                    <a:pt x="1112" y="394"/>
                  </a:lnTo>
                  <a:lnTo>
                    <a:pt x="1110" y="395"/>
                  </a:lnTo>
                  <a:lnTo>
                    <a:pt x="1109" y="397"/>
                  </a:lnTo>
                  <a:lnTo>
                    <a:pt x="1108" y="400"/>
                  </a:lnTo>
                  <a:lnTo>
                    <a:pt x="1107" y="405"/>
                  </a:lnTo>
                  <a:lnTo>
                    <a:pt x="1107" y="409"/>
                  </a:lnTo>
                  <a:lnTo>
                    <a:pt x="1107" y="413"/>
                  </a:lnTo>
                  <a:lnTo>
                    <a:pt x="1108" y="416"/>
                  </a:lnTo>
                  <a:lnTo>
                    <a:pt x="1110" y="418"/>
                  </a:lnTo>
                  <a:lnTo>
                    <a:pt x="1114" y="422"/>
                  </a:lnTo>
                  <a:lnTo>
                    <a:pt x="1120" y="426"/>
                  </a:lnTo>
                  <a:lnTo>
                    <a:pt x="1124" y="428"/>
                  </a:lnTo>
                  <a:lnTo>
                    <a:pt x="1129" y="429"/>
                  </a:lnTo>
                  <a:lnTo>
                    <a:pt x="1133" y="428"/>
                  </a:lnTo>
                  <a:lnTo>
                    <a:pt x="1137" y="427"/>
                  </a:lnTo>
                  <a:lnTo>
                    <a:pt x="1146" y="424"/>
                  </a:lnTo>
                  <a:lnTo>
                    <a:pt x="1154" y="422"/>
                  </a:lnTo>
                  <a:lnTo>
                    <a:pt x="1158" y="422"/>
                  </a:lnTo>
                  <a:lnTo>
                    <a:pt x="1161" y="420"/>
                  </a:lnTo>
                  <a:lnTo>
                    <a:pt x="1163" y="419"/>
                  </a:lnTo>
                  <a:lnTo>
                    <a:pt x="1165" y="416"/>
                  </a:lnTo>
                  <a:lnTo>
                    <a:pt x="1167" y="413"/>
                  </a:lnTo>
                  <a:lnTo>
                    <a:pt x="1168" y="410"/>
                  </a:lnTo>
                  <a:lnTo>
                    <a:pt x="1168" y="406"/>
                  </a:lnTo>
                  <a:lnTo>
                    <a:pt x="1168" y="402"/>
                  </a:lnTo>
                  <a:lnTo>
                    <a:pt x="1166" y="399"/>
                  </a:lnTo>
                  <a:lnTo>
                    <a:pt x="1163" y="395"/>
                  </a:lnTo>
                  <a:lnTo>
                    <a:pt x="1159" y="391"/>
                  </a:lnTo>
                  <a:lnTo>
                    <a:pt x="1154" y="388"/>
                  </a:lnTo>
                  <a:lnTo>
                    <a:pt x="1150" y="385"/>
                  </a:lnTo>
                  <a:lnTo>
                    <a:pt x="1146" y="382"/>
                  </a:lnTo>
                  <a:lnTo>
                    <a:pt x="1146" y="380"/>
                  </a:lnTo>
                  <a:lnTo>
                    <a:pt x="1146" y="377"/>
                  </a:lnTo>
                  <a:lnTo>
                    <a:pt x="1147" y="375"/>
                  </a:lnTo>
                  <a:lnTo>
                    <a:pt x="1149" y="373"/>
                  </a:lnTo>
                  <a:lnTo>
                    <a:pt x="1152" y="367"/>
                  </a:lnTo>
                  <a:lnTo>
                    <a:pt x="1154" y="363"/>
                  </a:lnTo>
                  <a:lnTo>
                    <a:pt x="1155" y="359"/>
                  </a:lnTo>
                  <a:lnTo>
                    <a:pt x="1155" y="355"/>
                  </a:lnTo>
                  <a:lnTo>
                    <a:pt x="1154" y="351"/>
                  </a:lnTo>
                  <a:lnTo>
                    <a:pt x="1153" y="349"/>
                  </a:lnTo>
                  <a:lnTo>
                    <a:pt x="1153" y="347"/>
                  </a:lnTo>
                  <a:lnTo>
                    <a:pt x="1155" y="345"/>
                  </a:lnTo>
                  <a:lnTo>
                    <a:pt x="1157" y="342"/>
                  </a:lnTo>
                  <a:lnTo>
                    <a:pt x="1161" y="340"/>
                  </a:lnTo>
                  <a:lnTo>
                    <a:pt x="1167" y="335"/>
                  </a:lnTo>
                  <a:lnTo>
                    <a:pt x="1174" y="329"/>
                  </a:lnTo>
                  <a:lnTo>
                    <a:pt x="1177" y="327"/>
                  </a:lnTo>
                  <a:lnTo>
                    <a:pt x="1179" y="327"/>
                  </a:lnTo>
                  <a:lnTo>
                    <a:pt x="1180" y="329"/>
                  </a:lnTo>
                  <a:lnTo>
                    <a:pt x="1180" y="335"/>
                  </a:lnTo>
                  <a:lnTo>
                    <a:pt x="1180" y="342"/>
                  </a:lnTo>
                  <a:lnTo>
                    <a:pt x="1181" y="347"/>
                  </a:lnTo>
                  <a:lnTo>
                    <a:pt x="1183" y="352"/>
                  </a:lnTo>
                  <a:lnTo>
                    <a:pt x="1186" y="355"/>
                  </a:lnTo>
                  <a:lnTo>
                    <a:pt x="1193" y="358"/>
                  </a:lnTo>
                  <a:lnTo>
                    <a:pt x="1195" y="361"/>
                  </a:lnTo>
                  <a:lnTo>
                    <a:pt x="1186" y="369"/>
                  </a:lnTo>
                  <a:lnTo>
                    <a:pt x="1180" y="379"/>
                  </a:lnTo>
                  <a:lnTo>
                    <a:pt x="1179" y="385"/>
                  </a:lnTo>
                  <a:lnTo>
                    <a:pt x="1178" y="397"/>
                  </a:lnTo>
                  <a:lnTo>
                    <a:pt x="1178" y="402"/>
                  </a:lnTo>
                  <a:lnTo>
                    <a:pt x="1179" y="407"/>
                  </a:lnTo>
                  <a:lnTo>
                    <a:pt x="1181" y="412"/>
                  </a:lnTo>
                  <a:lnTo>
                    <a:pt x="1185" y="416"/>
                  </a:lnTo>
                  <a:lnTo>
                    <a:pt x="1202" y="418"/>
                  </a:lnTo>
                  <a:lnTo>
                    <a:pt x="1212" y="420"/>
                  </a:lnTo>
                  <a:lnTo>
                    <a:pt x="1226" y="417"/>
                  </a:lnTo>
                  <a:lnTo>
                    <a:pt x="1242" y="413"/>
                  </a:lnTo>
                  <a:lnTo>
                    <a:pt x="1247" y="418"/>
                  </a:lnTo>
                  <a:lnTo>
                    <a:pt x="1252" y="420"/>
                  </a:lnTo>
                  <a:lnTo>
                    <a:pt x="1262" y="422"/>
                  </a:lnTo>
                  <a:lnTo>
                    <a:pt x="1278" y="422"/>
                  </a:lnTo>
                  <a:lnTo>
                    <a:pt x="1289" y="422"/>
                  </a:lnTo>
                  <a:lnTo>
                    <a:pt x="1296" y="421"/>
                  </a:lnTo>
                  <a:lnTo>
                    <a:pt x="1301" y="419"/>
                  </a:lnTo>
                  <a:lnTo>
                    <a:pt x="1306" y="416"/>
                  </a:lnTo>
                  <a:lnTo>
                    <a:pt x="1309" y="413"/>
                  </a:lnTo>
                  <a:lnTo>
                    <a:pt x="1311" y="412"/>
                  </a:lnTo>
                  <a:lnTo>
                    <a:pt x="1313" y="412"/>
                  </a:lnTo>
                  <a:lnTo>
                    <a:pt x="1316" y="413"/>
                  </a:lnTo>
                  <a:lnTo>
                    <a:pt x="1332" y="410"/>
                  </a:lnTo>
                  <a:lnTo>
                    <a:pt x="1347" y="407"/>
                  </a:lnTo>
                  <a:lnTo>
                    <a:pt x="1350" y="409"/>
                  </a:lnTo>
                  <a:lnTo>
                    <a:pt x="1354" y="411"/>
                  </a:lnTo>
                  <a:lnTo>
                    <a:pt x="1359" y="411"/>
                  </a:lnTo>
                  <a:lnTo>
                    <a:pt x="1365" y="412"/>
                  </a:lnTo>
                  <a:lnTo>
                    <a:pt x="1378" y="412"/>
                  </a:lnTo>
                  <a:lnTo>
                    <a:pt x="1388" y="412"/>
                  </a:lnTo>
                  <a:lnTo>
                    <a:pt x="1393" y="411"/>
                  </a:lnTo>
                  <a:lnTo>
                    <a:pt x="1398" y="410"/>
                  </a:lnTo>
                  <a:lnTo>
                    <a:pt x="1403" y="407"/>
                  </a:lnTo>
                  <a:lnTo>
                    <a:pt x="1408" y="404"/>
                  </a:lnTo>
                  <a:lnTo>
                    <a:pt x="1413" y="401"/>
                  </a:lnTo>
                  <a:lnTo>
                    <a:pt x="1416" y="398"/>
                  </a:lnTo>
                  <a:lnTo>
                    <a:pt x="1416" y="396"/>
                  </a:lnTo>
                  <a:lnTo>
                    <a:pt x="1417" y="395"/>
                  </a:lnTo>
                  <a:lnTo>
                    <a:pt x="1416" y="394"/>
                  </a:lnTo>
                  <a:lnTo>
                    <a:pt x="1416" y="393"/>
                  </a:lnTo>
                  <a:lnTo>
                    <a:pt x="1408" y="389"/>
                  </a:lnTo>
                  <a:lnTo>
                    <a:pt x="1401" y="386"/>
                  </a:lnTo>
                  <a:lnTo>
                    <a:pt x="1399" y="385"/>
                  </a:lnTo>
                  <a:lnTo>
                    <a:pt x="1397" y="383"/>
                  </a:lnTo>
                  <a:lnTo>
                    <a:pt x="1398" y="381"/>
                  </a:lnTo>
                  <a:lnTo>
                    <a:pt x="1401" y="378"/>
                  </a:lnTo>
                  <a:lnTo>
                    <a:pt x="1408" y="374"/>
                  </a:lnTo>
                  <a:lnTo>
                    <a:pt x="1415" y="369"/>
                  </a:lnTo>
                  <a:lnTo>
                    <a:pt x="1416" y="367"/>
                  </a:lnTo>
                  <a:lnTo>
                    <a:pt x="1417" y="365"/>
                  </a:lnTo>
                  <a:lnTo>
                    <a:pt x="1416" y="364"/>
                  </a:lnTo>
                  <a:lnTo>
                    <a:pt x="1413" y="361"/>
                  </a:lnTo>
                  <a:lnTo>
                    <a:pt x="1404" y="355"/>
                  </a:lnTo>
                  <a:lnTo>
                    <a:pt x="1393" y="346"/>
                  </a:lnTo>
                  <a:lnTo>
                    <a:pt x="1387" y="343"/>
                  </a:lnTo>
                  <a:lnTo>
                    <a:pt x="1382" y="340"/>
                  </a:lnTo>
                  <a:lnTo>
                    <a:pt x="1377" y="338"/>
                  </a:lnTo>
                  <a:lnTo>
                    <a:pt x="1374" y="338"/>
                  </a:lnTo>
                  <a:lnTo>
                    <a:pt x="1366" y="341"/>
                  </a:lnTo>
                  <a:lnTo>
                    <a:pt x="1357" y="346"/>
                  </a:lnTo>
                  <a:lnTo>
                    <a:pt x="1353" y="349"/>
                  </a:lnTo>
                  <a:lnTo>
                    <a:pt x="1349" y="350"/>
                  </a:lnTo>
                  <a:lnTo>
                    <a:pt x="1346" y="350"/>
                  </a:lnTo>
                  <a:lnTo>
                    <a:pt x="1342" y="347"/>
                  </a:lnTo>
                  <a:lnTo>
                    <a:pt x="1340" y="343"/>
                  </a:lnTo>
                  <a:lnTo>
                    <a:pt x="1338" y="340"/>
                  </a:lnTo>
                  <a:lnTo>
                    <a:pt x="1337" y="339"/>
                  </a:lnTo>
                  <a:lnTo>
                    <a:pt x="1335" y="339"/>
                  </a:lnTo>
                  <a:lnTo>
                    <a:pt x="1334" y="340"/>
                  </a:lnTo>
                  <a:lnTo>
                    <a:pt x="1331" y="341"/>
                  </a:lnTo>
                  <a:lnTo>
                    <a:pt x="1328" y="345"/>
                  </a:lnTo>
                  <a:lnTo>
                    <a:pt x="1326" y="351"/>
                  </a:lnTo>
                  <a:lnTo>
                    <a:pt x="1325" y="354"/>
                  </a:lnTo>
                  <a:lnTo>
                    <a:pt x="1321" y="357"/>
                  </a:lnTo>
                  <a:lnTo>
                    <a:pt x="1317" y="359"/>
                  </a:lnTo>
                  <a:lnTo>
                    <a:pt x="1312" y="361"/>
                  </a:lnTo>
                  <a:lnTo>
                    <a:pt x="1298" y="364"/>
                  </a:lnTo>
                  <a:lnTo>
                    <a:pt x="1287" y="366"/>
                  </a:lnTo>
                  <a:lnTo>
                    <a:pt x="1279" y="367"/>
                  </a:lnTo>
                  <a:lnTo>
                    <a:pt x="1276" y="367"/>
                  </a:lnTo>
                  <a:lnTo>
                    <a:pt x="1275" y="365"/>
                  </a:lnTo>
                  <a:lnTo>
                    <a:pt x="1274" y="361"/>
                  </a:lnTo>
                  <a:lnTo>
                    <a:pt x="1272" y="360"/>
                  </a:lnTo>
                  <a:lnTo>
                    <a:pt x="1270" y="359"/>
                  </a:lnTo>
                  <a:lnTo>
                    <a:pt x="1268" y="359"/>
                  </a:lnTo>
                  <a:lnTo>
                    <a:pt x="1264" y="361"/>
                  </a:lnTo>
                  <a:lnTo>
                    <a:pt x="1252" y="369"/>
                  </a:lnTo>
                  <a:lnTo>
                    <a:pt x="1248" y="372"/>
                  </a:lnTo>
                  <a:lnTo>
                    <a:pt x="1244" y="368"/>
                  </a:lnTo>
                  <a:lnTo>
                    <a:pt x="1228" y="358"/>
                  </a:lnTo>
                  <a:lnTo>
                    <a:pt x="1223" y="355"/>
                  </a:lnTo>
                  <a:lnTo>
                    <a:pt x="1220" y="352"/>
                  </a:lnTo>
                  <a:lnTo>
                    <a:pt x="1218" y="349"/>
                  </a:lnTo>
                  <a:lnTo>
                    <a:pt x="1217" y="346"/>
                  </a:lnTo>
                  <a:lnTo>
                    <a:pt x="1216" y="344"/>
                  </a:lnTo>
                  <a:lnTo>
                    <a:pt x="1217" y="343"/>
                  </a:lnTo>
                  <a:lnTo>
                    <a:pt x="1218" y="341"/>
                  </a:lnTo>
                  <a:lnTo>
                    <a:pt x="1220" y="341"/>
                  </a:lnTo>
                  <a:lnTo>
                    <a:pt x="1218" y="340"/>
                  </a:lnTo>
                  <a:lnTo>
                    <a:pt x="1210" y="339"/>
                  </a:lnTo>
                  <a:lnTo>
                    <a:pt x="1206" y="338"/>
                  </a:lnTo>
                  <a:lnTo>
                    <a:pt x="1203" y="337"/>
                  </a:lnTo>
                  <a:lnTo>
                    <a:pt x="1202" y="336"/>
                  </a:lnTo>
                  <a:lnTo>
                    <a:pt x="1202" y="336"/>
                  </a:lnTo>
                  <a:lnTo>
                    <a:pt x="1203" y="335"/>
                  </a:lnTo>
                  <a:lnTo>
                    <a:pt x="1204" y="334"/>
                  </a:lnTo>
                  <a:lnTo>
                    <a:pt x="1218" y="325"/>
                  </a:lnTo>
                  <a:lnTo>
                    <a:pt x="1227" y="320"/>
                  </a:lnTo>
                  <a:lnTo>
                    <a:pt x="1228" y="317"/>
                  </a:lnTo>
                  <a:lnTo>
                    <a:pt x="1232" y="311"/>
                  </a:lnTo>
                  <a:lnTo>
                    <a:pt x="1234" y="309"/>
                  </a:lnTo>
                  <a:lnTo>
                    <a:pt x="1238" y="307"/>
                  </a:lnTo>
                  <a:lnTo>
                    <a:pt x="1239" y="307"/>
                  </a:lnTo>
                  <a:lnTo>
                    <a:pt x="1241" y="308"/>
                  </a:lnTo>
                  <a:lnTo>
                    <a:pt x="1242" y="309"/>
                  </a:lnTo>
                  <a:lnTo>
                    <a:pt x="1244" y="310"/>
                  </a:lnTo>
                  <a:lnTo>
                    <a:pt x="1246" y="314"/>
                  </a:lnTo>
                  <a:lnTo>
                    <a:pt x="1249" y="317"/>
                  </a:lnTo>
                  <a:lnTo>
                    <a:pt x="1252" y="319"/>
                  </a:lnTo>
                  <a:lnTo>
                    <a:pt x="1255" y="320"/>
                  </a:lnTo>
                  <a:lnTo>
                    <a:pt x="1263" y="321"/>
                  </a:lnTo>
                  <a:lnTo>
                    <a:pt x="1272" y="320"/>
                  </a:lnTo>
                  <a:lnTo>
                    <a:pt x="1277" y="319"/>
                  </a:lnTo>
                  <a:lnTo>
                    <a:pt x="1282" y="316"/>
                  </a:lnTo>
                  <a:lnTo>
                    <a:pt x="1285" y="313"/>
                  </a:lnTo>
                  <a:lnTo>
                    <a:pt x="1289" y="309"/>
                  </a:lnTo>
                  <a:lnTo>
                    <a:pt x="1292" y="307"/>
                  </a:lnTo>
                  <a:lnTo>
                    <a:pt x="1294" y="305"/>
                  </a:lnTo>
                  <a:lnTo>
                    <a:pt x="1296" y="305"/>
                  </a:lnTo>
                  <a:lnTo>
                    <a:pt x="1297" y="306"/>
                  </a:lnTo>
                  <a:lnTo>
                    <a:pt x="1298" y="307"/>
                  </a:lnTo>
                  <a:lnTo>
                    <a:pt x="1299" y="308"/>
                  </a:lnTo>
                  <a:lnTo>
                    <a:pt x="1304" y="312"/>
                  </a:lnTo>
                  <a:lnTo>
                    <a:pt x="1308" y="314"/>
                  </a:lnTo>
                  <a:lnTo>
                    <a:pt x="1312" y="315"/>
                  </a:lnTo>
                  <a:lnTo>
                    <a:pt x="1317" y="316"/>
                  </a:lnTo>
                  <a:lnTo>
                    <a:pt x="1321" y="316"/>
                  </a:lnTo>
                  <a:lnTo>
                    <a:pt x="1326" y="315"/>
                  </a:lnTo>
                  <a:lnTo>
                    <a:pt x="1329" y="313"/>
                  </a:lnTo>
                  <a:lnTo>
                    <a:pt x="1330" y="312"/>
                  </a:lnTo>
                  <a:lnTo>
                    <a:pt x="1332" y="308"/>
                  </a:lnTo>
                  <a:lnTo>
                    <a:pt x="1334" y="303"/>
                  </a:lnTo>
                  <a:lnTo>
                    <a:pt x="1335" y="302"/>
                  </a:lnTo>
                  <a:lnTo>
                    <a:pt x="1336" y="301"/>
                  </a:lnTo>
                  <a:lnTo>
                    <a:pt x="1338" y="301"/>
                  </a:lnTo>
                  <a:lnTo>
                    <a:pt x="1340" y="302"/>
                  </a:lnTo>
                  <a:lnTo>
                    <a:pt x="1344" y="306"/>
                  </a:lnTo>
                  <a:lnTo>
                    <a:pt x="1348" y="309"/>
                  </a:lnTo>
                  <a:lnTo>
                    <a:pt x="1352" y="310"/>
                  </a:lnTo>
                  <a:lnTo>
                    <a:pt x="1355" y="310"/>
                  </a:lnTo>
                  <a:lnTo>
                    <a:pt x="1358" y="309"/>
                  </a:lnTo>
                  <a:lnTo>
                    <a:pt x="1364" y="307"/>
                  </a:lnTo>
                  <a:lnTo>
                    <a:pt x="1370" y="305"/>
                  </a:lnTo>
                  <a:lnTo>
                    <a:pt x="1376" y="303"/>
                  </a:lnTo>
                  <a:lnTo>
                    <a:pt x="1384" y="305"/>
                  </a:lnTo>
                  <a:lnTo>
                    <a:pt x="1394" y="308"/>
                  </a:lnTo>
                  <a:lnTo>
                    <a:pt x="1404" y="312"/>
                  </a:lnTo>
                  <a:lnTo>
                    <a:pt x="1414" y="316"/>
                  </a:lnTo>
                  <a:lnTo>
                    <a:pt x="1418" y="317"/>
                  </a:lnTo>
                  <a:lnTo>
                    <a:pt x="1422" y="316"/>
                  </a:lnTo>
                  <a:lnTo>
                    <a:pt x="1425" y="315"/>
                  </a:lnTo>
                  <a:lnTo>
                    <a:pt x="1428" y="312"/>
                  </a:lnTo>
                  <a:lnTo>
                    <a:pt x="1439" y="301"/>
                  </a:lnTo>
                  <a:lnTo>
                    <a:pt x="1445" y="295"/>
                  </a:lnTo>
                  <a:lnTo>
                    <a:pt x="1449" y="291"/>
                  </a:lnTo>
                  <a:lnTo>
                    <a:pt x="1454" y="287"/>
                  </a:lnTo>
                  <a:lnTo>
                    <a:pt x="1457" y="286"/>
                  </a:lnTo>
                  <a:lnTo>
                    <a:pt x="1458" y="284"/>
                  </a:lnTo>
                  <a:lnTo>
                    <a:pt x="1457" y="281"/>
                  </a:lnTo>
                  <a:lnTo>
                    <a:pt x="1454" y="280"/>
                  </a:lnTo>
                  <a:lnTo>
                    <a:pt x="1446" y="277"/>
                  </a:lnTo>
                  <a:lnTo>
                    <a:pt x="1436" y="275"/>
                  </a:lnTo>
                  <a:lnTo>
                    <a:pt x="1426" y="274"/>
                  </a:lnTo>
                  <a:lnTo>
                    <a:pt x="1417" y="272"/>
                  </a:lnTo>
                  <a:lnTo>
                    <a:pt x="1409" y="269"/>
                  </a:lnTo>
                  <a:lnTo>
                    <a:pt x="1402" y="268"/>
                  </a:lnTo>
                  <a:lnTo>
                    <a:pt x="1396" y="267"/>
                  </a:lnTo>
                  <a:lnTo>
                    <a:pt x="1391" y="268"/>
                  </a:lnTo>
                  <a:lnTo>
                    <a:pt x="1385" y="270"/>
                  </a:lnTo>
                  <a:lnTo>
                    <a:pt x="1378" y="271"/>
                  </a:lnTo>
                  <a:lnTo>
                    <a:pt x="1375" y="271"/>
                  </a:lnTo>
                  <a:lnTo>
                    <a:pt x="1374" y="270"/>
                  </a:lnTo>
                  <a:lnTo>
                    <a:pt x="1374" y="269"/>
                  </a:lnTo>
                  <a:lnTo>
                    <a:pt x="1376" y="267"/>
                  </a:lnTo>
                  <a:lnTo>
                    <a:pt x="1382" y="262"/>
                  </a:lnTo>
                  <a:lnTo>
                    <a:pt x="1388" y="256"/>
                  </a:lnTo>
                  <a:lnTo>
                    <a:pt x="1391" y="253"/>
                  </a:lnTo>
                  <a:lnTo>
                    <a:pt x="1394" y="252"/>
                  </a:lnTo>
                  <a:lnTo>
                    <a:pt x="1396" y="251"/>
                  </a:lnTo>
                  <a:lnTo>
                    <a:pt x="1397" y="252"/>
                  </a:lnTo>
                  <a:lnTo>
                    <a:pt x="1400" y="254"/>
                  </a:lnTo>
                  <a:lnTo>
                    <a:pt x="1402" y="256"/>
                  </a:lnTo>
                  <a:lnTo>
                    <a:pt x="1406" y="257"/>
                  </a:lnTo>
                  <a:lnTo>
                    <a:pt x="1412" y="258"/>
                  </a:lnTo>
                  <a:lnTo>
                    <a:pt x="1417" y="259"/>
                  </a:lnTo>
                  <a:lnTo>
                    <a:pt x="1420" y="259"/>
                  </a:lnTo>
                  <a:lnTo>
                    <a:pt x="1425" y="258"/>
                  </a:lnTo>
                  <a:lnTo>
                    <a:pt x="1437" y="255"/>
                  </a:lnTo>
                  <a:lnTo>
                    <a:pt x="1443" y="253"/>
                  </a:lnTo>
                  <a:lnTo>
                    <a:pt x="1448" y="251"/>
                  </a:lnTo>
                  <a:lnTo>
                    <a:pt x="1452" y="248"/>
                  </a:lnTo>
                  <a:lnTo>
                    <a:pt x="1454" y="245"/>
                  </a:lnTo>
                  <a:lnTo>
                    <a:pt x="1456" y="243"/>
                  </a:lnTo>
                  <a:lnTo>
                    <a:pt x="1456" y="240"/>
                  </a:lnTo>
                  <a:lnTo>
                    <a:pt x="1454" y="237"/>
                  </a:lnTo>
                  <a:lnTo>
                    <a:pt x="1453" y="235"/>
                  </a:lnTo>
                  <a:lnTo>
                    <a:pt x="1448" y="233"/>
                  </a:lnTo>
                  <a:lnTo>
                    <a:pt x="1443" y="230"/>
                  </a:lnTo>
                  <a:lnTo>
                    <a:pt x="1441" y="230"/>
                  </a:lnTo>
                  <a:lnTo>
                    <a:pt x="1440" y="229"/>
                  </a:lnTo>
                  <a:lnTo>
                    <a:pt x="1441" y="228"/>
                  </a:lnTo>
                  <a:lnTo>
                    <a:pt x="1443" y="228"/>
                  </a:lnTo>
                  <a:lnTo>
                    <a:pt x="1451" y="227"/>
                  </a:lnTo>
                  <a:lnTo>
                    <a:pt x="1461" y="227"/>
                  </a:lnTo>
                  <a:lnTo>
                    <a:pt x="1470" y="226"/>
                  </a:lnTo>
                  <a:lnTo>
                    <a:pt x="1479" y="225"/>
                  </a:lnTo>
                  <a:lnTo>
                    <a:pt x="1480" y="224"/>
                  </a:lnTo>
                  <a:lnTo>
                    <a:pt x="1481" y="224"/>
                  </a:lnTo>
                  <a:lnTo>
                    <a:pt x="1481" y="223"/>
                  </a:lnTo>
                  <a:lnTo>
                    <a:pt x="1480" y="222"/>
                  </a:lnTo>
                  <a:lnTo>
                    <a:pt x="1478" y="220"/>
                  </a:lnTo>
                  <a:lnTo>
                    <a:pt x="1475" y="218"/>
                  </a:lnTo>
                  <a:lnTo>
                    <a:pt x="1472" y="217"/>
                  </a:lnTo>
                  <a:lnTo>
                    <a:pt x="1471" y="214"/>
                  </a:lnTo>
                  <a:lnTo>
                    <a:pt x="1471" y="213"/>
                  </a:lnTo>
                  <a:lnTo>
                    <a:pt x="1474" y="212"/>
                  </a:lnTo>
                  <a:lnTo>
                    <a:pt x="1484" y="211"/>
                  </a:lnTo>
                  <a:lnTo>
                    <a:pt x="1492" y="212"/>
                  </a:lnTo>
                  <a:lnTo>
                    <a:pt x="1496" y="212"/>
                  </a:lnTo>
                  <a:lnTo>
                    <a:pt x="1500" y="211"/>
                  </a:lnTo>
                  <a:lnTo>
                    <a:pt x="1502" y="209"/>
                  </a:lnTo>
                  <a:lnTo>
                    <a:pt x="1503" y="206"/>
                  </a:lnTo>
                  <a:lnTo>
                    <a:pt x="1501" y="202"/>
                  </a:lnTo>
                  <a:lnTo>
                    <a:pt x="1498" y="200"/>
                  </a:lnTo>
                  <a:lnTo>
                    <a:pt x="1494" y="198"/>
                  </a:lnTo>
                  <a:lnTo>
                    <a:pt x="1490" y="197"/>
                  </a:lnTo>
                  <a:lnTo>
                    <a:pt x="1487" y="197"/>
                  </a:lnTo>
                  <a:lnTo>
                    <a:pt x="1485" y="196"/>
                  </a:lnTo>
                  <a:lnTo>
                    <a:pt x="1485" y="196"/>
                  </a:lnTo>
                  <a:lnTo>
                    <a:pt x="1488" y="194"/>
                  </a:lnTo>
                  <a:lnTo>
                    <a:pt x="1495" y="192"/>
                  </a:lnTo>
                  <a:lnTo>
                    <a:pt x="1503" y="191"/>
                  </a:lnTo>
                  <a:lnTo>
                    <a:pt x="1509" y="189"/>
                  </a:lnTo>
                  <a:lnTo>
                    <a:pt x="1511" y="187"/>
                  </a:lnTo>
                  <a:lnTo>
                    <a:pt x="1512" y="184"/>
                  </a:lnTo>
                  <a:lnTo>
                    <a:pt x="1513" y="182"/>
                  </a:lnTo>
                  <a:lnTo>
                    <a:pt x="1513" y="181"/>
                  </a:lnTo>
                  <a:lnTo>
                    <a:pt x="1512" y="179"/>
                  </a:lnTo>
                  <a:lnTo>
                    <a:pt x="1510" y="178"/>
                  </a:lnTo>
                  <a:lnTo>
                    <a:pt x="1506" y="177"/>
                  </a:lnTo>
                  <a:lnTo>
                    <a:pt x="1497" y="174"/>
                  </a:lnTo>
                  <a:lnTo>
                    <a:pt x="1489" y="170"/>
                  </a:lnTo>
                  <a:lnTo>
                    <a:pt x="1485" y="169"/>
                  </a:lnTo>
                  <a:lnTo>
                    <a:pt x="1482" y="169"/>
                  </a:lnTo>
                  <a:lnTo>
                    <a:pt x="1479" y="169"/>
                  </a:lnTo>
                  <a:lnTo>
                    <a:pt x="1475" y="170"/>
                  </a:lnTo>
                  <a:lnTo>
                    <a:pt x="1473" y="174"/>
                  </a:lnTo>
                  <a:lnTo>
                    <a:pt x="1473" y="177"/>
                  </a:lnTo>
                  <a:lnTo>
                    <a:pt x="1473" y="178"/>
                  </a:lnTo>
                  <a:lnTo>
                    <a:pt x="1471" y="178"/>
                  </a:lnTo>
                  <a:lnTo>
                    <a:pt x="1467" y="178"/>
                  </a:lnTo>
                  <a:lnTo>
                    <a:pt x="1461" y="176"/>
                  </a:lnTo>
                  <a:lnTo>
                    <a:pt x="1456" y="175"/>
                  </a:lnTo>
                  <a:lnTo>
                    <a:pt x="1454" y="172"/>
                  </a:lnTo>
                  <a:lnTo>
                    <a:pt x="1457" y="170"/>
                  </a:lnTo>
                  <a:lnTo>
                    <a:pt x="1460" y="169"/>
                  </a:lnTo>
                  <a:lnTo>
                    <a:pt x="1464" y="168"/>
                  </a:lnTo>
                  <a:lnTo>
                    <a:pt x="1468" y="167"/>
                  </a:lnTo>
                  <a:lnTo>
                    <a:pt x="1471" y="165"/>
                  </a:lnTo>
                  <a:lnTo>
                    <a:pt x="1472" y="164"/>
                  </a:lnTo>
                  <a:lnTo>
                    <a:pt x="1470" y="161"/>
                  </a:lnTo>
                  <a:lnTo>
                    <a:pt x="1469" y="159"/>
                  </a:lnTo>
                  <a:lnTo>
                    <a:pt x="1469" y="157"/>
                  </a:lnTo>
                  <a:lnTo>
                    <a:pt x="1471" y="155"/>
                  </a:lnTo>
                  <a:lnTo>
                    <a:pt x="1473" y="152"/>
                  </a:lnTo>
                  <a:lnTo>
                    <a:pt x="1474" y="148"/>
                  </a:lnTo>
                  <a:lnTo>
                    <a:pt x="1475" y="147"/>
                  </a:lnTo>
                  <a:lnTo>
                    <a:pt x="1478" y="146"/>
                  </a:lnTo>
                  <a:lnTo>
                    <a:pt x="1480" y="146"/>
                  </a:lnTo>
                  <a:lnTo>
                    <a:pt x="1484" y="147"/>
                  </a:lnTo>
                  <a:lnTo>
                    <a:pt x="1492" y="152"/>
                  </a:lnTo>
                  <a:lnTo>
                    <a:pt x="1498" y="155"/>
                  </a:lnTo>
                  <a:lnTo>
                    <a:pt x="1502" y="156"/>
                  </a:lnTo>
                  <a:lnTo>
                    <a:pt x="1506" y="155"/>
                  </a:lnTo>
                  <a:lnTo>
                    <a:pt x="1510" y="154"/>
                  </a:lnTo>
                  <a:lnTo>
                    <a:pt x="1514" y="152"/>
                  </a:lnTo>
                  <a:lnTo>
                    <a:pt x="1525" y="146"/>
                  </a:lnTo>
                  <a:lnTo>
                    <a:pt x="1531" y="143"/>
                  </a:lnTo>
                  <a:lnTo>
                    <a:pt x="1533" y="141"/>
                  </a:lnTo>
                  <a:lnTo>
                    <a:pt x="1535" y="140"/>
                  </a:lnTo>
                  <a:lnTo>
                    <a:pt x="1535" y="139"/>
                  </a:lnTo>
                  <a:lnTo>
                    <a:pt x="1535" y="137"/>
                  </a:lnTo>
                  <a:lnTo>
                    <a:pt x="1531" y="134"/>
                  </a:lnTo>
                  <a:lnTo>
                    <a:pt x="1526" y="131"/>
                  </a:lnTo>
                  <a:lnTo>
                    <a:pt x="1524" y="128"/>
                  </a:lnTo>
                  <a:lnTo>
                    <a:pt x="1523" y="127"/>
                  </a:lnTo>
                  <a:lnTo>
                    <a:pt x="1523" y="126"/>
                  </a:lnTo>
                  <a:lnTo>
                    <a:pt x="1525" y="126"/>
                  </a:lnTo>
                  <a:lnTo>
                    <a:pt x="1534" y="128"/>
                  </a:lnTo>
                  <a:lnTo>
                    <a:pt x="1548" y="133"/>
                  </a:lnTo>
                  <a:lnTo>
                    <a:pt x="1554" y="135"/>
                  </a:lnTo>
                  <a:lnTo>
                    <a:pt x="1559" y="136"/>
                  </a:lnTo>
                  <a:lnTo>
                    <a:pt x="1563" y="136"/>
                  </a:lnTo>
                  <a:lnTo>
                    <a:pt x="1566" y="135"/>
                  </a:lnTo>
                  <a:lnTo>
                    <a:pt x="1564" y="132"/>
                  </a:lnTo>
                  <a:lnTo>
                    <a:pt x="1562" y="130"/>
                  </a:lnTo>
                  <a:lnTo>
                    <a:pt x="1560" y="127"/>
                  </a:lnTo>
                  <a:lnTo>
                    <a:pt x="1557" y="125"/>
                  </a:lnTo>
                  <a:lnTo>
                    <a:pt x="1554" y="123"/>
                  </a:lnTo>
                  <a:lnTo>
                    <a:pt x="1553" y="121"/>
                  </a:lnTo>
                  <a:lnTo>
                    <a:pt x="1553" y="119"/>
                  </a:lnTo>
                  <a:lnTo>
                    <a:pt x="1555" y="117"/>
                  </a:lnTo>
                  <a:lnTo>
                    <a:pt x="1561" y="113"/>
                  </a:lnTo>
                  <a:lnTo>
                    <a:pt x="1568" y="111"/>
                  </a:lnTo>
                  <a:lnTo>
                    <a:pt x="1575" y="109"/>
                  </a:lnTo>
                  <a:lnTo>
                    <a:pt x="1583" y="106"/>
                  </a:lnTo>
                  <a:lnTo>
                    <a:pt x="1591" y="104"/>
                  </a:lnTo>
                  <a:lnTo>
                    <a:pt x="1597" y="101"/>
                  </a:lnTo>
                  <a:lnTo>
                    <a:pt x="1601" y="99"/>
                  </a:lnTo>
                  <a:lnTo>
                    <a:pt x="1603" y="95"/>
                  </a:lnTo>
                  <a:lnTo>
                    <a:pt x="1604" y="93"/>
                  </a:lnTo>
                  <a:lnTo>
                    <a:pt x="1607" y="91"/>
                  </a:lnTo>
                  <a:lnTo>
                    <a:pt x="1611" y="89"/>
                  </a:lnTo>
                  <a:lnTo>
                    <a:pt x="1615" y="88"/>
                  </a:lnTo>
                  <a:lnTo>
                    <a:pt x="1624" y="83"/>
                  </a:lnTo>
                  <a:lnTo>
                    <a:pt x="1633" y="80"/>
                  </a:lnTo>
                  <a:lnTo>
                    <a:pt x="1647" y="74"/>
                  </a:lnTo>
                  <a:lnTo>
                    <a:pt x="1669" y="65"/>
                  </a:lnTo>
                  <a:lnTo>
                    <a:pt x="1680" y="60"/>
                  </a:lnTo>
                  <a:lnTo>
                    <a:pt x="1688" y="56"/>
                  </a:lnTo>
                  <a:lnTo>
                    <a:pt x="1690" y="55"/>
                  </a:lnTo>
                  <a:lnTo>
                    <a:pt x="1692" y="53"/>
                  </a:lnTo>
                  <a:lnTo>
                    <a:pt x="1692" y="52"/>
                  </a:lnTo>
                  <a:lnTo>
                    <a:pt x="1690" y="52"/>
                  </a:lnTo>
                  <a:lnTo>
                    <a:pt x="1683" y="52"/>
                  </a:lnTo>
                  <a:lnTo>
                    <a:pt x="1670" y="53"/>
                  </a:lnTo>
                  <a:lnTo>
                    <a:pt x="1656" y="56"/>
                  </a:lnTo>
                  <a:lnTo>
                    <a:pt x="1639" y="59"/>
                  </a:lnTo>
                  <a:lnTo>
                    <a:pt x="1623" y="62"/>
                  </a:lnTo>
                  <a:lnTo>
                    <a:pt x="1611" y="65"/>
                  </a:lnTo>
                  <a:lnTo>
                    <a:pt x="1601" y="67"/>
                  </a:lnTo>
                  <a:lnTo>
                    <a:pt x="1598" y="66"/>
                  </a:lnTo>
                  <a:lnTo>
                    <a:pt x="1600" y="64"/>
                  </a:lnTo>
                  <a:lnTo>
                    <a:pt x="1604" y="61"/>
                  </a:lnTo>
                  <a:lnTo>
                    <a:pt x="1611" y="59"/>
                  </a:lnTo>
                  <a:lnTo>
                    <a:pt x="1618" y="57"/>
                  </a:lnTo>
                  <a:lnTo>
                    <a:pt x="1633" y="54"/>
                  </a:lnTo>
                  <a:lnTo>
                    <a:pt x="1639" y="53"/>
                  </a:lnTo>
                  <a:lnTo>
                    <a:pt x="1624" y="51"/>
                  </a:lnTo>
                  <a:lnTo>
                    <a:pt x="1611" y="49"/>
                  </a:lnTo>
                  <a:lnTo>
                    <a:pt x="1625" y="47"/>
                  </a:lnTo>
                  <a:lnTo>
                    <a:pt x="1641" y="46"/>
                  </a:lnTo>
                  <a:lnTo>
                    <a:pt x="1651" y="47"/>
                  </a:lnTo>
                  <a:lnTo>
                    <a:pt x="1667" y="47"/>
                  </a:lnTo>
                  <a:lnTo>
                    <a:pt x="1674" y="43"/>
                  </a:lnTo>
                  <a:lnTo>
                    <a:pt x="1679" y="40"/>
                  </a:lnTo>
                  <a:lnTo>
                    <a:pt x="1685" y="40"/>
                  </a:lnTo>
                  <a:lnTo>
                    <a:pt x="1696" y="38"/>
                  </a:lnTo>
                  <a:lnTo>
                    <a:pt x="1708" y="36"/>
                  </a:lnTo>
                  <a:lnTo>
                    <a:pt x="1714" y="34"/>
                  </a:lnTo>
                  <a:lnTo>
                    <a:pt x="1721" y="31"/>
                  </a:lnTo>
                  <a:lnTo>
                    <a:pt x="1730" y="28"/>
                  </a:lnTo>
                  <a:lnTo>
                    <a:pt x="1734" y="26"/>
                  </a:lnTo>
                  <a:lnTo>
                    <a:pt x="1737" y="24"/>
                  </a:lnTo>
                  <a:lnTo>
                    <a:pt x="1737" y="23"/>
                  </a:lnTo>
                  <a:lnTo>
                    <a:pt x="1737" y="22"/>
                  </a:lnTo>
                  <a:lnTo>
                    <a:pt x="1736" y="22"/>
                  </a:lnTo>
                  <a:lnTo>
                    <a:pt x="1735" y="21"/>
                  </a:lnTo>
                  <a:lnTo>
                    <a:pt x="1725" y="16"/>
                  </a:lnTo>
                  <a:lnTo>
                    <a:pt x="1719" y="14"/>
                  </a:lnTo>
                  <a:lnTo>
                    <a:pt x="1705" y="11"/>
                  </a:lnTo>
                  <a:lnTo>
                    <a:pt x="1696" y="8"/>
                  </a:lnTo>
                  <a:lnTo>
                    <a:pt x="1695" y="6"/>
                  </a:lnTo>
                  <a:lnTo>
                    <a:pt x="1692" y="4"/>
                  </a:lnTo>
                  <a:lnTo>
                    <a:pt x="1688" y="3"/>
                  </a:lnTo>
                  <a:lnTo>
                    <a:pt x="1683" y="2"/>
                  </a:lnTo>
                  <a:lnTo>
                    <a:pt x="1674" y="3"/>
                  </a:lnTo>
                  <a:lnTo>
                    <a:pt x="1663" y="4"/>
                  </a:lnTo>
                  <a:lnTo>
                    <a:pt x="1651" y="6"/>
                  </a:lnTo>
                  <a:lnTo>
                    <a:pt x="1642" y="8"/>
                  </a:lnTo>
                  <a:lnTo>
                    <a:pt x="1634" y="10"/>
                  </a:lnTo>
                  <a:lnTo>
                    <a:pt x="1626" y="11"/>
                  </a:lnTo>
                  <a:lnTo>
                    <a:pt x="1620" y="11"/>
                  </a:lnTo>
                  <a:lnTo>
                    <a:pt x="1617" y="10"/>
                  </a:lnTo>
                  <a:lnTo>
                    <a:pt x="1616" y="10"/>
                  </a:lnTo>
                  <a:lnTo>
                    <a:pt x="1616" y="9"/>
                  </a:lnTo>
                  <a:lnTo>
                    <a:pt x="1616" y="9"/>
                  </a:lnTo>
                  <a:lnTo>
                    <a:pt x="1617" y="9"/>
                  </a:lnTo>
                  <a:lnTo>
                    <a:pt x="1620" y="8"/>
                  </a:lnTo>
                  <a:lnTo>
                    <a:pt x="1627" y="6"/>
                  </a:lnTo>
                  <a:lnTo>
                    <a:pt x="1637" y="5"/>
                  </a:lnTo>
                  <a:lnTo>
                    <a:pt x="1649" y="3"/>
                  </a:lnTo>
                  <a:lnTo>
                    <a:pt x="1654" y="3"/>
                  </a:lnTo>
                  <a:lnTo>
                    <a:pt x="1656" y="2"/>
                  </a:lnTo>
                  <a:lnTo>
                    <a:pt x="1652" y="2"/>
                  </a:lnTo>
                  <a:lnTo>
                    <a:pt x="1645" y="2"/>
                  </a:lnTo>
                  <a:lnTo>
                    <a:pt x="1626" y="1"/>
                  </a:lnTo>
                  <a:lnTo>
                    <a:pt x="1612" y="1"/>
                  </a:lnTo>
                  <a:lnTo>
                    <a:pt x="1601" y="1"/>
                  </a:lnTo>
                  <a:lnTo>
                    <a:pt x="1594" y="1"/>
                  </a:lnTo>
                  <a:lnTo>
                    <a:pt x="1585" y="0"/>
                  </a:lnTo>
                  <a:lnTo>
                    <a:pt x="1579" y="2"/>
                  </a:lnTo>
                  <a:lnTo>
                    <a:pt x="1577" y="3"/>
                  </a:lnTo>
                  <a:lnTo>
                    <a:pt x="1575" y="4"/>
                  </a:lnTo>
                  <a:lnTo>
                    <a:pt x="1572" y="4"/>
                  </a:lnTo>
                  <a:lnTo>
                    <a:pt x="1569" y="4"/>
                  </a:lnTo>
                  <a:lnTo>
                    <a:pt x="1563" y="2"/>
                  </a:lnTo>
                  <a:lnTo>
                    <a:pt x="1555" y="1"/>
                  </a:lnTo>
                  <a:lnTo>
                    <a:pt x="1546" y="1"/>
                  </a:lnTo>
                  <a:lnTo>
                    <a:pt x="1541" y="2"/>
                  </a:lnTo>
                  <a:lnTo>
                    <a:pt x="1547" y="6"/>
                  </a:lnTo>
                  <a:lnTo>
                    <a:pt x="1552" y="8"/>
                  </a:lnTo>
                  <a:lnTo>
                    <a:pt x="1551" y="9"/>
                  </a:lnTo>
                  <a:lnTo>
                    <a:pt x="1549" y="11"/>
                  </a:lnTo>
                  <a:lnTo>
                    <a:pt x="1546" y="12"/>
                  </a:lnTo>
                  <a:lnTo>
                    <a:pt x="1540" y="11"/>
                  </a:lnTo>
                  <a:lnTo>
                    <a:pt x="1525" y="7"/>
                  </a:lnTo>
                  <a:lnTo>
                    <a:pt x="1517" y="4"/>
                  </a:lnTo>
                  <a:lnTo>
                    <a:pt x="1517" y="4"/>
                  </a:lnTo>
                  <a:lnTo>
                    <a:pt x="1516" y="3"/>
                  </a:lnTo>
                  <a:lnTo>
                    <a:pt x="1513" y="3"/>
                  </a:lnTo>
                  <a:lnTo>
                    <a:pt x="1506" y="4"/>
                  </a:lnTo>
                  <a:lnTo>
                    <a:pt x="1491" y="5"/>
                  </a:lnTo>
                  <a:lnTo>
                    <a:pt x="1482" y="6"/>
                  </a:lnTo>
                  <a:lnTo>
                    <a:pt x="1480" y="7"/>
                  </a:lnTo>
                  <a:lnTo>
                    <a:pt x="1480" y="8"/>
                  </a:lnTo>
                  <a:lnTo>
                    <a:pt x="1480" y="8"/>
                  </a:lnTo>
                  <a:lnTo>
                    <a:pt x="1481" y="9"/>
                  </a:lnTo>
                  <a:lnTo>
                    <a:pt x="1485" y="10"/>
                  </a:lnTo>
                  <a:lnTo>
                    <a:pt x="1489" y="10"/>
                  </a:lnTo>
                  <a:lnTo>
                    <a:pt x="1503" y="12"/>
                  </a:lnTo>
                  <a:lnTo>
                    <a:pt x="1513" y="15"/>
                  </a:lnTo>
                  <a:lnTo>
                    <a:pt x="1513" y="16"/>
                  </a:lnTo>
                  <a:lnTo>
                    <a:pt x="1513" y="18"/>
                  </a:lnTo>
                  <a:lnTo>
                    <a:pt x="1511" y="18"/>
                  </a:lnTo>
                  <a:lnTo>
                    <a:pt x="1505" y="18"/>
                  </a:lnTo>
                  <a:lnTo>
                    <a:pt x="1493" y="17"/>
                  </a:lnTo>
                  <a:lnTo>
                    <a:pt x="1486" y="15"/>
                  </a:lnTo>
                  <a:lnTo>
                    <a:pt x="1480" y="13"/>
                  </a:lnTo>
                  <a:lnTo>
                    <a:pt x="1475" y="11"/>
                  </a:lnTo>
                  <a:lnTo>
                    <a:pt x="1466" y="10"/>
                  </a:lnTo>
                  <a:lnTo>
                    <a:pt x="1460" y="9"/>
                  </a:lnTo>
                  <a:lnTo>
                    <a:pt x="1456" y="10"/>
                  </a:lnTo>
                  <a:lnTo>
                    <a:pt x="1447" y="11"/>
                  </a:lnTo>
                  <a:lnTo>
                    <a:pt x="1440" y="13"/>
                  </a:lnTo>
                  <a:lnTo>
                    <a:pt x="1440" y="14"/>
                  </a:lnTo>
                  <a:lnTo>
                    <a:pt x="1450" y="14"/>
                  </a:lnTo>
                  <a:lnTo>
                    <a:pt x="1451" y="15"/>
                  </a:lnTo>
                  <a:lnTo>
                    <a:pt x="1441" y="18"/>
                  </a:lnTo>
                  <a:lnTo>
                    <a:pt x="1434" y="20"/>
                  </a:lnTo>
                  <a:lnTo>
                    <a:pt x="1435" y="20"/>
                  </a:lnTo>
                  <a:lnTo>
                    <a:pt x="1435" y="21"/>
                  </a:lnTo>
                  <a:lnTo>
                    <a:pt x="1435" y="21"/>
                  </a:lnTo>
                  <a:lnTo>
                    <a:pt x="1430" y="23"/>
                  </a:lnTo>
                  <a:lnTo>
                    <a:pt x="1419" y="25"/>
                  </a:lnTo>
                  <a:lnTo>
                    <a:pt x="1412" y="26"/>
                  </a:lnTo>
                  <a:lnTo>
                    <a:pt x="1407" y="28"/>
                  </a:lnTo>
                  <a:lnTo>
                    <a:pt x="1401" y="31"/>
                  </a:lnTo>
                  <a:lnTo>
                    <a:pt x="1399" y="31"/>
                  </a:lnTo>
                  <a:lnTo>
                    <a:pt x="1399" y="32"/>
                  </a:lnTo>
                  <a:lnTo>
                    <a:pt x="1399" y="32"/>
                  </a:lnTo>
                  <a:lnTo>
                    <a:pt x="1400" y="33"/>
                  </a:lnTo>
                  <a:lnTo>
                    <a:pt x="1403" y="34"/>
                  </a:lnTo>
                  <a:lnTo>
                    <a:pt x="1406" y="34"/>
                  </a:lnTo>
                  <a:lnTo>
                    <a:pt x="1416" y="35"/>
                  </a:lnTo>
                  <a:lnTo>
                    <a:pt x="1422" y="38"/>
                  </a:lnTo>
                  <a:lnTo>
                    <a:pt x="1423" y="40"/>
                  </a:lnTo>
                  <a:lnTo>
                    <a:pt x="1421" y="43"/>
                  </a:lnTo>
                  <a:lnTo>
                    <a:pt x="1419" y="44"/>
                  </a:lnTo>
                  <a:lnTo>
                    <a:pt x="1418" y="44"/>
                  </a:lnTo>
                  <a:lnTo>
                    <a:pt x="1416" y="44"/>
                  </a:lnTo>
                  <a:lnTo>
                    <a:pt x="1413" y="43"/>
                  </a:lnTo>
                  <a:lnTo>
                    <a:pt x="1403" y="40"/>
                  </a:lnTo>
                  <a:lnTo>
                    <a:pt x="1395" y="38"/>
                  </a:lnTo>
                  <a:lnTo>
                    <a:pt x="1383" y="38"/>
                  </a:lnTo>
                  <a:lnTo>
                    <a:pt x="1374" y="36"/>
                  </a:lnTo>
                  <a:lnTo>
                    <a:pt x="1372" y="34"/>
                  </a:lnTo>
                  <a:lnTo>
                    <a:pt x="1369" y="33"/>
                  </a:lnTo>
                  <a:lnTo>
                    <a:pt x="1365" y="32"/>
                  </a:lnTo>
                  <a:lnTo>
                    <a:pt x="1363" y="31"/>
                  </a:lnTo>
                  <a:lnTo>
                    <a:pt x="1358" y="32"/>
                  </a:lnTo>
                  <a:lnTo>
                    <a:pt x="1353" y="34"/>
                  </a:lnTo>
                  <a:lnTo>
                    <a:pt x="1350" y="34"/>
                  </a:lnTo>
                  <a:lnTo>
                    <a:pt x="1349" y="35"/>
                  </a:lnTo>
                  <a:lnTo>
                    <a:pt x="1348" y="36"/>
                  </a:lnTo>
                  <a:lnTo>
                    <a:pt x="1349" y="37"/>
                  </a:lnTo>
                  <a:lnTo>
                    <a:pt x="1351" y="38"/>
                  </a:lnTo>
                  <a:lnTo>
                    <a:pt x="1352" y="38"/>
                  </a:lnTo>
                  <a:lnTo>
                    <a:pt x="1350" y="39"/>
                  </a:lnTo>
                  <a:lnTo>
                    <a:pt x="1346" y="42"/>
                  </a:lnTo>
                  <a:lnTo>
                    <a:pt x="1340" y="44"/>
                  </a:lnTo>
                  <a:lnTo>
                    <a:pt x="1336" y="45"/>
                  </a:lnTo>
                  <a:lnTo>
                    <a:pt x="1334" y="46"/>
                  </a:lnTo>
                  <a:lnTo>
                    <a:pt x="1333" y="46"/>
                  </a:lnTo>
                  <a:lnTo>
                    <a:pt x="1332" y="47"/>
                  </a:lnTo>
                  <a:lnTo>
                    <a:pt x="1333" y="47"/>
                  </a:lnTo>
                  <a:lnTo>
                    <a:pt x="1344" y="49"/>
                  </a:lnTo>
                  <a:lnTo>
                    <a:pt x="1348" y="50"/>
                  </a:lnTo>
                  <a:lnTo>
                    <a:pt x="1336" y="52"/>
                  </a:lnTo>
                  <a:lnTo>
                    <a:pt x="1326" y="53"/>
                  </a:lnTo>
                  <a:lnTo>
                    <a:pt x="1326" y="51"/>
                  </a:lnTo>
                  <a:lnTo>
                    <a:pt x="1327" y="50"/>
                  </a:lnTo>
                  <a:lnTo>
                    <a:pt x="1326" y="49"/>
                  </a:lnTo>
                  <a:lnTo>
                    <a:pt x="1320" y="50"/>
                  </a:lnTo>
                  <a:lnTo>
                    <a:pt x="1310" y="55"/>
                  </a:lnTo>
                  <a:lnTo>
                    <a:pt x="1303" y="57"/>
                  </a:lnTo>
                  <a:lnTo>
                    <a:pt x="1294" y="59"/>
                  </a:lnTo>
                  <a:lnTo>
                    <a:pt x="1288" y="62"/>
                  </a:lnTo>
                  <a:lnTo>
                    <a:pt x="1275" y="66"/>
                  </a:lnTo>
                  <a:lnTo>
                    <a:pt x="1263" y="71"/>
                  </a:lnTo>
                  <a:lnTo>
                    <a:pt x="1260" y="73"/>
                  </a:lnTo>
                  <a:lnTo>
                    <a:pt x="1259" y="75"/>
                  </a:lnTo>
                  <a:lnTo>
                    <a:pt x="1260" y="76"/>
                  </a:lnTo>
                  <a:lnTo>
                    <a:pt x="1262" y="77"/>
                  </a:lnTo>
                  <a:lnTo>
                    <a:pt x="1272" y="75"/>
                  </a:lnTo>
                  <a:lnTo>
                    <a:pt x="1282" y="73"/>
                  </a:lnTo>
                  <a:lnTo>
                    <a:pt x="1285" y="74"/>
                  </a:lnTo>
                  <a:lnTo>
                    <a:pt x="1287" y="75"/>
                  </a:lnTo>
                  <a:lnTo>
                    <a:pt x="1300" y="72"/>
                  </a:lnTo>
                  <a:lnTo>
                    <a:pt x="1309" y="70"/>
                  </a:lnTo>
                  <a:lnTo>
                    <a:pt x="1303" y="75"/>
                  </a:lnTo>
                  <a:lnTo>
                    <a:pt x="1297" y="79"/>
                  </a:lnTo>
                  <a:lnTo>
                    <a:pt x="1294" y="80"/>
                  </a:lnTo>
                  <a:lnTo>
                    <a:pt x="1291" y="81"/>
                  </a:lnTo>
                  <a:lnTo>
                    <a:pt x="1289" y="82"/>
                  </a:lnTo>
                  <a:lnTo>
                    <a:pt x="1286" y="86"/>
                  </a:lnTo>
                  <a:lnTo>
                    <a:pt x="1284" y="90"/>
                  </a:lnTo>
                  <a:lnTo>
                    <a:pt x="1282" y="92"/>
                  </a:lnTo>
                  <a:lnTo>
                    <a:pt x="1281" y="93"/>
                  </a:lnTo>
                  <a:lnTo>
                    <a:pt x="1281" y="94"/>
                  </a:lnTo>
                  <a:lnTo>
                    <a:pt x="1282" y="95"/>
                  </a:lnTo>
                  <a:lnTo>
                    <a:pt x="1284" y="95"/>
                  </a:lnTo>
                  <a:lnTo>
                    <a:pt x="1300" y="92"/>
                  </a:lnTo>
                  <a:lnTo>
                    <a:pt x="1314" y="90"/>
                  </a:lnTo>
                  <a:lnTo>
                    <a:pt x="1321" y="90"/>
                  </a:lnTo>
                  <a:lnTo>
                    <a:pt x="1331" y="87"/>
                  </a:lnTo>
                  <a:lnTo>
                    <a:pt x="1340" y="83"/>
                  </a:lnTo>
                  <a:lnTo>
                    <a:pt x="1347" y="82"/>
                  </a:lnTo>
                  <a:lnTo>
                    <a:pt x="1359" y="76"/>
                  </a:lnTo>
                  <a:lnTo>
                    <a:pt x="1365" y="75"/>
                  </a:lnTo>
                  <a:lnTo>
                    <a:pt x="1355" y="81"/>
                  </a:lnTo>
                  <a:lnTo>
                    <a:pt x="1343" y="86"/>
                  </a:lnTo>
                  <a:lnTo>
                    <a:pt x="1348" y="86"/>
                  </a:lnTo>
                  <a:lnTo>
                    <a:pt x="1359" y="83"/>
                  </a:lnTo>
                  <a:lnTo>
                    <a:pt x="1373" y="80"/>
                  </a:lnTo>
                  <a:lnTo>
                    <a:pt x="1381" y="79"/>
                  </a:lnTo>
                  <a:lnTo>
                    <a:pt x="1382" y="79"/>
                  </a:lnTo>
                  <a:lnTo>
                    <a:pt x="1383" y="80"/>
                  </a:lnTo>
                  <a:lnTo>
                    <a:pt x="1382" y="81"/>
                  </a:lnTo>
                  <a:lnTo>
                    <a:pt x="1382" y="82"/>
                  </a:lnTo>
                  <a:lnTo>
                    <a:pt x="1378" y="83"/>
                  </a:lnTo>
                  <a:lnTo>
                    <a:pt x="1371" y="86"/>
                  </a:lnTo>
                  <a:lnTo>
                    <a:pt x="1362" y="87"/>
                  </a:lnTo>
                  <a:lnTo>
                    <a:pt x="1354" y="87"/>
                  </a:lnTo>
                  <a:lnTo>
                    <a:pt x="1351" y="87"/>
                  </a:lnTo>
                  <a:lnTo>
                    <a:pt x="1348" y="88"/>
                  </a:lnTo>
                  <a:lnTo>
                    <a:pt x="1346" y="89"/>
                  </a:lnTo>
                  <a:lnTo>
                    <a:pt x="1344" y="90"/>
                  </a:lnTo>
                  <a:lnTo>
                    <a:pt x="1341" y="94"/>
                  </a:lnTo>
                  <a:lnTo>
                    <a:pt x="1337" y="97"/>
                  </a:lnTo>
                  <a:lnTo>
                    <a:pt x="1333" y="99"/>
                  </a:lnTo>
                  <a:lnTo>
                    <a:pt x="1330" y="98"/>
                  </a:lnTo>
                  <a:lnTo>
                    <a:pt x="1321" y="97"/>
                  </a:lnTo>
                  <a:lnTo>
                    <a:pt x="1310" y="97"/>
                  </a:lnTo>
                  <a:lnTo>
                    <a:pt x="1305" y="97"/>
                  </a:lnTo>
                  <a:lnTo>
                    <a:pt x="1299" y="97"/>
                  </a:lnTo>
                  <a:lnTo>
                    <a:pt x="1296" y="98"/>
                  </a:lnTo>
                  <a:lnTo>
                    <a:pt x="1294" y="99"/>
                  </a:lnTo>
                  <a:lnTo>
                    <a:pt x="1294" y="102"/>
                  </a:lnTo>
                  <a:lnTo>
                    <a:pt x="1296" y="106"/>
                  </a:lnTo>
                  <a:lnTo>
                    <a:pt x="1297" y="108"/>
                  </a:lnTo>
                  <a:lnTo>
                    <a:pt x="1300" y="109"/>
                  </a:lnTo>
                  <a:lnTo>
                    <a:pt x="1306" y="109"/>
                  </a:lnTo>
                  <a:lnTo>
                    <a:pt x="1311" y="108"/>
                  </a:lnTo>
                  <a:lnTo>
                    <a:pt x="1328" y="102"/>
                  </a:lnTo>
                  <a:lnTo>
                    <a:pt x="1333" y="102"/>
                  </a:lnTo>
                  <a:lnTo>
                    <a:pt x="1337" y="104"/>
                  </a:lnTo>
                  <a:lnTo>
                    <a:pt x="1340" y="106"/>
                  </a:lnTo>
                  <a:lnTo>
                    <a:pt x="1346" y="106"/>
                  </a:lnTo>
                  <a:lnTo>
                    <a:pt x="1354" y="106"/>
                  </a:lnTo>
                  <a:lnTo>
                    <a:pt x="1360" y="106"/>
                  </a:lnTo>
                  <a:lnTo>
                    <a:pt x="1368" y="103"/>
                  </a:lnTo>
                  <a:lnTo>
                    <a:pt x="1375" y="101"/>
                  </a:lnTo>
                  <a:lnTo>
                    <a:pt x="1382" y="98"/>
                  </a:lnTo>
                  <a:lnTo>
                    <a:pt x="1388" y="95"/>
                  </a:lnTo>
                  <a:lnTo>
                    <a:pt x="1394" y="93"/>
                  </a:lnTo>
                  <a:lnTo>
                    <a:pt x="1396" y="93"/>
                  </a:lnTo>
                  <a:lnTo>
                    <a:pt x="1397" y="93"/>
                  </a:lnTo>
                  <a:lnTo>
                    <a:pt x="1397" y="93"/>
                  </a:lnTo>
                  <a:lnTo>
                    <a:pt x="1397" y="94"/>
                  </a:lnTo>
                  <a:lnTo>
                    <a:pt x="1395" y="98"/>
                  </a:lnTo>
                  <a:lnTo>
                    <a:pt x="1395" y="100"/>
                  </a:lnTo>
                  <a:lnTo>
                    <a:pt x="1397" y="101"/>
                  </a:lnTo>
                  <a:lnTo>
                    <a:pt x="1402" y="100"/>
                  </a:lnTo>
                  <a:lnTo>
                    <a:pt x="1413" y="96"/>
                  </a:lnTo>
                  <a:lnTo>
                    <a:pt x="1425" y="91"/>
                  </a:lnTo>
                  <a:lnTo>
                    <a:pt x="1431" y="88"/>
                  </a:lnTo>
                  <a:lnTo>
                    <a:pt x="1438" y="84"/>
                  </a:lnTo>
                  <a:lnTo>
                    <a:pt x="1442" y="81"/>
                  </a:lnTo>
                  <a:lnTo>
                    <a:pt x="1444" y="78"/>
                  </a:lnTo>
                  <a:lnTo>
                    <a:pt x="1450" y="71"/>
                  </a:lnTo>
                  <a:lnTo>
                    <a:pt x="1458" y="65"/>
                  </a:lnTo>
                  <a:lnTo>
                    <a:pt x="1462" y="61"/>
                  </a:lnTo>
                  <a:lnTo>
                    <a:pt x="1465" y="59"/>
                  </a:lnTo>
                  <a:lnTo>
                    <a:pt x="1468" y="58"/>
                  </a:lnTo>
                  <a:lnTo>
                    <a:pt x="1470" y="59"/>
                  </a:lnTo>
                  <a:lnTo>
                    <a:pt x="1473" y="61"/>
                  </a:lnTo>
                  <a:lnTo>
                    <a:pt x="1475" y="64"/>
                  </a:lnTo>
                  <a:lnTo>
                    <a:pt x="1473" y="67"/>
                  </a:lnTo>
                  <a:lnTo>
                    <a:pt x="1466" y="70"/>
                  </a:lnTo>
                  <a:lnTo>
                    <a:pt x="1458" y="75"/>
                  </a:lnTo>
                  <a:lnTo>
                    <a:pt x="1450" y="78"/>
                  </a:lnTo>
                  <a:lnTo>
                    <a:pt x="1448" y="80"/>
                  </a:lnTo>
                  <a:lnTo>
                    <a:pt x="1447" y="81"/>
                  </a:lnTo>
                  <a:lnTo>
                    <a:pt x="1448" y="82"/>
                  </a:lnTo>
                  <a:lnTo>
                    <a:pt x="1451" y="82"/>
                  </a:lnTo>
                  <a:lnTo>
                    <a:pt x="1464" y="81"/>
                  </a:lnTo>
                  <a:lnTo>
                    <a:pt x="1479" y="79"/>
                  </a:lnTo>
                  <a:lnTo>
                    <a:pt x="1485" y="79"/>
                  </a:lnTo>
                  <a:lnTo>
                    <a:pt x="1489" y="79"/>
                  </a:lnTo>
                  <a:lnTo>
                    <a:pt x="1491" y="79"/>
                  </a:lnTo>
                  <a:lnTo>
                    <a:pt x="1491" y="80"/>
                  </a:lnTo>
                  <a:lnTo>
                    <a:pt x="1490" y="80"/>
                  </a:lnTo>
                  <a:lnTo>
                    <a:pt x="1489" y="81"/>
                  </a:lnTo>
                  <a:lnTo>
                    <a:pt x="1478" y="84"/>
                  </a:lnTo>
                  <a:lnTo>
                    <a:pt x="1463" y="86"/>
                  </a:lnTo>
                  <a:lnTo>
                    <a:pt x="1456" y="86"/>
                  </a:lnTo>
                  <a:lnTo>
                    <a:pt x="1448" y="87"/>
                  </a:lnTo>
                  <a:lnTo>
                    <a:pt x="1443" y="88"/>
                  </a:lnTo>
                  <a:lnTo>
                    <a:pt x="1439" y="90"/>
                  </a:lnTo>
                  <a:lnTo>
                    <a:pt x="1438" y="91"/>
                  </a:lnTo>
                  <a:lnTo>
                    <a:pt x="1438" y="92"/>
                  </a:lnTo>
                  <a:lnTo>
                    <a:pt x="1438" y="93"/>
                  </a:lnTo>
                  <a:lnTo>
                    <a:pt x="1439" y="94"/>
                  </a:lnTo>
                  <a:lnTo>
                    <a:pt x="1441" y="96"/>
                  </a:lnTo>
                  <a:lnTo>
                    <a:pt x="1443" y="97"/>
                  </a:lnTo>
                  <a:lnTo>
                    <a:pt x="1445" y="98"/>
                  </a:lnTo>
                  <a:lnTo>
                    <a:pt x="1446" y="99"/>
                  </a:lnTo>
                  <a:lnTo>
                    <a:pt x="1446" y="100"/>
                  </a:lnTo>
                  <a:lnTo>
                    <a:pt x="1442" y="100"/>
                  </a:lnTo>
                  <a:lnTo>
                    <a:pt x="1431" y="101"/>
                  </a:lnTo>
                  <a:lnTo>
                    <a:pt x="1421" y="102"/>
                  </a:lnTo>
                  <a:lnTo>
                    <a:pt x="1414" y="104"/>
                  </a:lnTo>
                  <a:lnTo>
                    <a:pt x="1408" y="105"/>
                  </a:lnTo>
                  <a:lnTo>
                    <a:pt x="1402" y="108"/>
                  </a:lnTo>
                  <a:lnTo>
                    <a:pt x="1393" y="110"/>
                  </a:lnTo>
                  <a:lnTo>
                    <a:pt x="1387" y="110"/>
                  </a:lnTo>
                  <a:lnTo>
                    <a:pt x="1384" y="111"/>
                  </a:lnTo>
                  <a:lnTo>
                    <a:pt x="1382" y="112"/>
                  </a:lnTo>
                  <a:lnTo>
                    <a:pt x="1381" y="113"/>
                  </a:lnTo>
                  <a:lnTo>
                    <a:pt x="1381" y="114"/>
                  </a:lnTo>
                  <a:lnTo>
                    <a:pt x="1382" y="114"/>
                  </a:lnTo>
                  <a:lnTo>
                    <a:pt x="1386" y="119"/>
                  </a:lnTo>
                  <a:lnTo>
                    <a:pt x="1393" y="123"/>
                  </a:lnTo>
                  <a:lnTo>
                    <a:pt x="1398" y="126"/>
                  </a:lnTo>
                  <a:lnTo>
                    <a:pt x="1402" y="128"/>
                  </a:lnTo>
                  <a:lnTo>
                    <a:pt x="1404" y="133"/>
                  </a:lnTo>
                  <a:lnTo>
                    <a:pt x="1408" y="138"/>
                  </a:lnTo>
                  <a:lnTo>
                    <a:pt x="1415" y="139"/>
                  </a:lnTo>
                  <a:lnTo>
                    <a:pt x="1424" y="138"/>
                  </a:lnTo>
                  <a:lnTo>
                    <a:pt x="1427" y="138"/>
                  </a:lnTo>
                  <a:lnTo>
                    <a:pt x="1429" y="139"/>
                  </a:lnTo>
                  <a:lnTo>
                    <a:pt x="1429" y="140"/>
                  </a:lnTo>
                  <a:lnTo>
                    <a:pt x="1426" y="142"/>
                  </a:lnTo>
                  <a:lnTo>
                    <a:pt x="1421" y="146"/>
                  </a:lnTo>
                  <a:lnTo>
                    <a:pt x="1419" y="149"/>
                  </a:lnTo>
                  <a:lnTo>
                    <a:pt x="1417" y="150"/>
                  </a:lnTo>
                  <a:lnTo>
                    <a:pt x="1412" y="149"/>
                  </a:lnTo>
                  <a:lnTo>
                    <a:pt x="1403" y="148"/>
                  </a:lnTo>
                  <a:lnTo>
                    <a:pt x="1395" y="147"/>
                  </a:lnTo>
                  <a:lnTo>
                    <a:pt x="1391" y="146"/>
                  </a:lnTo>
                  <a:lnTo>
                    <a:pt x="1387" y="145"/>
                  </a:lnTo>
                  <a:lnTo>
                    <a:pt x="1384" y="144"/>
                  </a:lnTo>
                  <a:lnTo>
                    <a:pt x="1383" y="142"/>
                  </a:lnTo>
                  <a:lnTo>
                    <a:pt x="1380" y="136"/>
                  </a:lnTo>
                  <a:lnTo>
                    <a:pt x="1374" y="127"/>
                  </a:lnTo>
                  <a:lnTo>
                    <a:pt x="1371" y="123"/>
                  </a:lnTo>
                  <a:lnTo>
                    <a:pt x="1366" y="120"/>
                  </a:lnTo>
                  <a:lnTo>
                    <a:pt x="1361" y="118"/>
                  </a:lnTo>
                  <a:lnTo>
                    <a:pt x="1356" y="117"/>
                  </a:lnTo>
                  <a:lnTo>
                    <a:pt x="1347" y="117"/>
                  </a:lnTo>
                  <a:lnTo>
                    <a:pt x="1341" y="116"/>
                  </a:lnTo>
                  <a:lnTo>
                    <a:pt x="1340" y="116"/>
                  </a:lnTo>
                  <a:lnTo>
                    <a:pt x="1339" y="116"/>
                  </a:lnTo>
                  <a:lnTo>
                    <a:pt x="1338" y="117"/>
                  </a:lnTo>
                  <a:lnTo>
                    <a:pt x="1337" y="119"/>
                  </a:lnTo>
                  <a:lnTo>
                    <a:pt x="1333" y="123"/>
                  </a:lnTo>
                  <a:lnTo>
                    <a:pt x="1330" y="125"/>
                  </a:lnTo>
                  <a:lnTo>
                    <a:pt x="1329" y="126"/>
                  </a:lnTo>
                  <a:lnTo>
                    <a:pt x="1328" y="127"/>
                  </a:lnTo>
                  <a:lnTo>
                    <a:pt x="1328" y="130"/>
                  </a:lnTo>
                  <a:lnTo>
                    <a:pt x="1330" y="132"/>
                  </a:lnTo>
                  <a:lnTo>
                    <a:pt x="1331" y="138"/>
                  </a:lnTo>
                  <a:lnTo>
                    <a:pt x="1332" y="143"/>
                  </a:lnTo>
                  <a:lnTo>
                    <a:pt x="1333" y="146"/>
                  </a:lnTo>
                  <a:lnTo>
                    <a:pt x="1334" y="149"/>
                  </a:lnTo>
                  <a:lnTo>
                    <a:pt x="1337" y="152"/>
                  </a:lnTo>
                  <a:lnTo>
                    <a:pt x="1340" y="154"/>
                  </a:lnTo>
                  <a:lnTo>
                    <a:pt x="1343" y="155"/>
                  </a:lnTo>
                  <a:lnTo>
                    <a:pt x="1347" y="155"/>
                  </a:lnTo>
                  <a:lnTo>
                    <a:pt x="1350" y="154"/>
                  </a:lnTo>
                  <a:lnTo>
                    <a:pt x="1353" y="153"/>
                  </a:lnTo>
                  <a:lnTo>
                    <a:pt x="1355" y="152"/>
                  </a:lnTo>
                  <a:lnTo>
                    <a:pt x="1357" y="152"/>
                  </a:lnTo>
                  <a:lnTo>
                    <a:pt x="1359" y="153"/>
                  </a:lnTo>
                  <a:lnTo>
                    <a:pt x="1359" y="155"/>
                  </a:lnTo>
                  <a:lnTo>
                    <a:pt x="1359" y="160"/>
                  </a:lnTo>
                  <a:lnTo>
                    <a:pt x="1359" y="163"/>
                  </a:lnTo>
                  <a:lnTo>
                    <a:pt x="1359" y="165"/>
                  </a:lnTo>
                  <a:lnTo>
                    <a:pt x="1361" y="167"/>
                  </a:lnTo>
                  <a:lnTo>
                    <a:pt x="1364" y="169"/>
                  </a:lnTo>
                  <a:lnTo>
                    <a:pt x="1370" y="171"/>
                  </a:lnTo>
                  <a:lnTo>
                    <a:pt x="1390" y="176"/>
                  </a:lnTo>
                  <a:lnTo>
                    <a:pt x="1400" y="178"/>
                  </a:lnTo>
                  <a:lnTo>
                    <a:pt x="1400" y="180"/>
                  </a:lnTo>
                  <a:lnTo>
                    <a:pt x="1399" y="182"/>
                  </a:lnTo>
                  <a:lnTo>
                    <a:pt x="1398" y="184"/>
                  </a:lnTo>
                  <a:lnTo>
                    <a:pt x="1396" y="186"/>
                  </a:lnTo>
                  <a:lnTo>
                    <a:pt x="1391" y="189"/>
                  </a:lnTo>
                  <a:lnTo>
                    <a:pt x="1383" y="191"/>
                  </a:lnTo>
                  <a:lnTo>
                    <a:pt x="1376" y="192"/>
                  </a:lnTo>
                  <a:lnTo>
                    <a:pt x="1368" y="194"/>
                  </a:lnTo>
                  <a:lnTo>
                    <a:pt x="1364" y="196"/>
                  </a:lnTo>
                  <a:lnTo>
                    <a:pt x="1360" y="197"/>
                  </a:lnTo>
                  <a:lnTo>
                    <a:pt x="1357" y="197"/>
                  </a:lnTo>
                  <a:lnTo>
                    <a:pt x="1355" y="196"/>
                  </a:lnTo>
                  <a:lnTo>
                    <a:pt x="1349" y="192"/>
                  </a:lnTo>
                  <a:lnTo>
                    <a:pt x="1342" y="190"/>
                  </a:lnTo>
                  <a:lnTo>
                    <a:pt x="1338" y="190"/>
                  </a:lnTo>
                  <a:lnTo>
                    <a:pt x="1334" y="190"/>
                  </a:lnTo>
                  <a:lnTo>
                    <a:pt x="1330" y="191"/>
                  </a:lnTo>
                  <a:lnTo>
                    <a:pt x="1326" y="193"/>
                  </a:lnTo>
                  <a:lnTo>
                    <a:pt x="1314" y="200"/>
                  </a:lnTo>
                  <a:lnTo>
                    <a:pt x="1301" y="207"/>
                  </a:lnTo>
                  <a:lnTo>
                    <a:pt x="1295" y="211"/>
                  </a:lnTo>
                  <a:lnTo>
                    <a:pt x="1291" y="214"/>
                  </a:lnTo>
                  <a:lnTo>
                    <a:pt x="1290" y="217"/>
                  </a:lnTo>
                  <a:lnTo>
                    <a:pt x="1289" y="218"/>
                  </a:lnTo>
                  <a:lnTo>
                    <a:pt x="1289" y="219"/>
                  </a:lnTo>
                  <a:lnTo>
                    <a:pt x="1289" y="220"/>
                  </a:lnTo>
                  <a:lnTo>
                    <a:pt x="1296" y="221"/>
                  </a:lnTo>
                  <a:lnTo>
                    <a:pt x="1307" y="221"/>
                  </a:lnTo>
                  <a:lnTo>
                    <a:pt x="1316" y="219"/>
                  </a:lnTo>
                  <a:lnTo>
                    <a:pt x="1321" y="218"/>
                  </a:lnTo>
                  <a:lnTo>
                    <a:pt x="1326" y="215"/>
                  </a:lnTo>
                  <a:lnTo>
                    <a:pt x="1333" y="212"/>
                  </a:lnTo>
                  <a:lnTo>
                    <a:pt x="1336" y="211"/>
                  </a:lnTo>
                  <a:lnTo>
                    <a:pt x="1338" y="211"/>
                  </a:lnTo>
                  <a:lnTo>
                    <a:pt x="1339" y="212"/>
                  </a:lnTo>
                  <a:lnTo>
                    <a:pt x="1338" y="214"/>
                  </a:lnTo>
                  <a:lnTo>
                    <a:pt x="1334" y="221"/>
                  </a:lnTo>
                  <a:lnTo>
                    <a:pt x="1329" y="226"/>
                  </a:lnTo>
                  <a:lnTo>
                    <a:pt x="1326" y="229"/>
                  </a:lnTo>
                  <a:lnTo>
                    <a:pt x="1325" y="231"/>
                  </a:lnTo>
                  <a:lnTo>
                    <a:pt x="1323" y="233"/>
                  </a:lnTo>
                  <a:lnTo>
                    <a:pt x="1325" y="236"/>
                  </a:lnTo>
                  <a:lnTo>
                    <a:pt x="1327" y="242"/>
                  </a:lnTo>
                  <a:lnTo>
                    <a:pt x="1330" y="247"/>
                  </a:lnTo>
                  <a:lnTo>
                    <a:pt x="1331" y="249"/>
                  </a:lnTo>
                  <a:lnTo>
                    <a:pt x="1333" y="250"/>
                  </a:lnTo>
                  <a:lnTo>
                    <a:pt x="1335" y="251"/>
                  </a:lnTo>
                  <a:lnTo>
                    <a:pt x="1338" y="251"/>
                  </a:lnTo>
                  <a:lnTo>
                    <a:pt x="1347" y="248"/>
                  </a:lnTo>
                  <a:lnTo>
                    <a:pt x="1359" y="243"/>
                  </a:lnTo>
                  <a:lnTo>
                    <a:pt x="1364" y="240"/>
                  </a:lnTo>
                  <a:lnTo>
                    <a:pt x="1370" y="239"/>
                  </a:lnTo>
                  <a:lnTo>
                    <a:pt x="1373" y="237"/>
                  </a:lnTo>
                  <a:lnTo>
                    <a:pt x="1374" y="239"/>
                  </a:lnTo>
                  <a:lnTo>
                    <a:pt x="1373" y="241"/>
                  </a:lnTo>
                  <a:lnTo>
                    <a:pt x="1372" y="243"/>
                  </a:lnTo>
                  <a:lnTo>
                    <a:pt x="1370" y="246"/>
                  </a:lnTo>
                  <a:lnTo>
                    <a:pt x="1366" y="249"/>
                  </a:lnTo>
                  <a:lnTo>
                    <a:pt x="1360" y="254"/>
                  </a:lnTo>
                  <a:lnTo>
                    <a:pt x="1355" y="257"/>
                  </a:lnTo>
                  <a:lnTo>
                    <a:pt x="1350" y="262"/>
                  </a:lnTo>
                  <a:lnTo>
                    <a:pt x="1344" y="267"/>
                  </a:lnTo>
                  <a:lnTo>
                    <a:pt x="1341" y="268"/>
                  </a:lnTo>
                  <a:lnTo>
                    <a:pt x="1337" y="269"/>
                  </a:lnTo>
                  <a:lnTo>
                    <a:pt x="1333" y="269"/>
                  </a:lnTo>
                  <a:lnTo>
                    <a:pt x="1328" y="268"/>
                  </a:lnTo>
                  <a:lnTo>
                    <a:pt x="1316" y="264"/>
                  </a:lnTo>
                  <a:lnTo>
                    <a:pt x="1306" y="259"/>
                  </a:lnTo>
                  <a:lnTo>
                    <a:pt x="1301" y="257"/>
                  </a:lnTo>
                  <a:lnTo>
                    <a:pt x="1298" y="255"/>
                  </a:lnTo>
                  <a:lnTo>
                    <a:pt x="1297" y="253"/>
                  </a:lnTo>
                  <a:lnTo>
                    <a:pt x="1296" y="251"/>
                  </a:lnTo>
                  <a:lnTo>
                    <a:pt x="1299" y="247"/>
                  </a:lnTo>
                  <a:lnTo>
                    <a:pt x="1303" y="242"/>
                  </a:lnTo>
                  <a:lnTo>
                    <a:pt x="1303" y="241"/>
                  </a:lnTo>
                  <a:lnTo>
                    <a:pt x="1301" y="239"/>
                  </a:lnTo>
                  <a:lnTo>
                    <a:pt x="1298" y="239"/>
                  </a:lnTo>
                  <a:lnTo>
                    <a:pt x="1294" y="240"/>
                  </a:lnTo>
                  <a:lnTo>
                    <a:pt x="1288" y="241"/>
                  </a:lnTo>
                  <a:lnTo>
                    <a:pt x="1284" y="241"/>
                  </a:lnTo>
                  <a:lnTo>
                    <a:pt x="1279" y="240"/>
                  </a:lnTo>
                  <a:lnTo>
                    <a:pt x="1276" y="239"/>
                  </a:lnTo>
                  <a:lnTo>
                    <a:pt x="1273" y="239"/>
                  </a:lnTo>
                  <a:lnTo>
                    <a:pt x="1272" y="240"/>
                  </a:lnTo>
                  <a:lnTo>
                    <a:pt x="1271" y="242"/>
                  </a:lnTo>
                  <a:lnTo>
                    <a:pt x="1271" y="247"/>
                  </a:lnTo>
                  <a:lnTo>
                    <a:pt x="1272" y="252"/>
                  </a:lnTo>
                  <a:lnTo>
                    <a:pt x="1273" y="255"/>
                  </a:lnTo>
                  <a:lnTo>
                    <a:pt x="1275" y="258"/>
                  </a:lnTo>
                  <a:lnTo>
                    <a:pt x="1277" y="261"/>
                  </a:lnTo>
                  <a:lnTo>
                    <a:pt x="1282" y="263"/>
                  </a:lnTo>
                  <a:lnTo>
                    <a:pt x="1287" y="266"/>
                  </a:lnTo>
                  <a:lnTo>
                    <a:pt x="1292" y="268"/>
                  </a:lnTo>
                  <a:lnTo>
                    <a:pt x="1296" y="270"/>
                  </a:lnTo>
                  <a:lnTo>
                    <a:pt x="1297" y="271"/>
                  </a:lnTo>
                  <a:lnTo>
                    <a:pt x="1297" y="272"/>
                  </a:lnTo>
                  <a:lnTo>
                    <a:pt x="1296" y="273"/>
                  </a:lnTo>
                  <a:lnTo>
                    <a:pt x="1295" y="275"/>
                  </a:lnTo>
                  <a:lnTo>
                    <a:pt x="1284" y="279"/>
                  </a:lnTo>
                  <a:lnTo>
                    <a:pt x="1271" y="284"/>
                  </a:lnTo>
                  <a:lnTo>
                    <a:pt x="1255" y="293"/>
                  </a:lnTo>
                  <a:lnTo>
                    <a:pt x="1241" y="301"/>
                  </a:lnTo>
                  <a:lnTo>
                    <a:pt x="1237" y="306"/>
                  </a:lnTo>
                  <a:lnTo>
                    <a:pt x="1230" y="310"/>
                  </a:lnTo>
                  <a:lnTo>
                    <a:pt x="1227" y="312"/>
                  </a:lnTo>
                  <a:lnTo>
                    <a:pt x="1224" y="313"/>
                  </a:lnTo>
                  <a:lnTo>
                    <a:pt x="1222" y="314"/>
                  </a:lnTo>
                  <a:lnTo>
                    <a:pt x="1220" y="313"/>
                  </a:lnTo>
                  <a:lnTo>
                    <a:pt x="1212" y="313"/>
                  </a:lnTo>
                  <a:lnTo>
                    <a:pt x="1199" y="315"/>
                  </a:lnTo>
                  <a:lnTo>
                    <a:pt x="1187" y="316"/>
                  </a:lnTo>
                  <a:lnTo>
                    <a:pt x="1182" y="317"/>
                  </a:lnTo>
                  <a:lnTo>
                    <a:pt x="1182" y="317"/>
                  </a:lnTo>
                  <a:lnTo>
                    <a:pt x="1183" y="316"/>
                  </a:lnTo>
                  <a:lnTo>
                    <a:pt x="1182" y="314"/>
                  </a:lnTo>
                  <a:lnTo>
                    <a:pt x="1178" y="310"/>
                  </a:lnTo>
                  <a:lnTo>
                    <a:pt x="1172" y="305"/>
                  </a:lnTo>
                  <a:lnTo>
                    <a:pt x="1166" y="300"/>
                  </a:lnTo>
                  <a:lnTo>
                    <a:pt x="1161" y="298"/>
                  </a:lnTo>
                  <a:lnTo>
                    <a:pt x="1156" y="298"/>
                  </a:lnTo>
                  <a:lnTo>
                    <a:pt x="1146" y="298"/>
                  </a:lnTo>
                  <a:lnTo>
                    <a:pt x="1141" y="298"/>
                  </a:lnTo>
                  <a:lnTo>
                    <a:pt x="1137" y="299"/>
                  </a:lnTo>
                  <a:lnTo>
                    <a:pt x="1133" y="299"/>
                  </a:lnTo>
                  <a:lnTo>
                    <a:pt x="1129" y="302"/>
                  </a:lnTo>
                  <a:lnTo>
                    <a:pt x="1127" y="303"/>
                  </a:lnTo>
                  <a:close/>
                  <a:moveTo>
                    <a:pt x="1227" y="268"/>
                  </a:moveTo>
                  <a:lnTo>
                    <a:pt x="1224" y="276"/>
                  </a:lnTo>
                  <a:lnTo>
                    <a:pt x="1219" y="283"/>
                  </a:lnTo>
                  <a:lnTo>
                    <a:pt x="1219" y="284"/>
                  </a:lnTo>
                  <a:lnTo>
                    <a:pt x="1220" y="287"/>
                  </a:lnTo>
                  <a:lnTo>
                    <a:pt x="1221" y="288"/>
                  </a:lnTo>
                  <a:lnTo>
                    <a:pt x="1222" y="288"/>
                  </a:lnTo>
                  <a:lnTo>
                    <a:pt x="1224" y="289"/>
                  </a:lnTo>
                  <a:lnTo>
                    <a:pt x="1226" y="288"/>
                  </a:lnTo>
                  <a:lnTo>
                    <a:pt x="1234" y="284"/>
                  </a:lnTo>
                  <a:lnTo>
                    <a:pt x="1242" y="278"/>
                  </a:lnTo>
                  <a:lnTo>
                    <a:pt x="1244" y="275"/>
                  </a:lnTo>
                  <a:lnTo>
                    <a:pt x="1243" y="271"/>
                  </a:lnTo>
                  <a:lnTo>
                    <a:pt x="1241" y="268"/>
                  </a:lnTo>
                  <a:lnTo>
                    <a:pt x="1240" y="266"/>
                  </a:lnTo>
                  <a:lnTo>
                    <a:pt x="1238" y="264"/>
                  </a:lnTo>
                  <a:lnTo>
                    <a:pt x="1234" y="262"/>
                  </a:lnTo>
                  <a:lnTo>
                    <a:pt x="1231" y="261"/>
                  </a:lnTo>
                  <a:lnTo>
                    <a:pt x="1229" y="262"/>
                  </a:lnTo>
                  <a:lnTo>
                    <a:pt x="1228" y="266"/>
                  </a:lnTo>
                  <a:lnTo>
                    <a:pt x="1227" y="268"/>
                  </a:lnTo>
                  <a:close/>
                  <a:moveTo>
                    <a:pt x="1143" y="274"/>
                  </a:moveTo>
                  <a:lnTo>
                    <a:pt x="1147" y="276"/>
                  </a:lnTo>
                  <a:lnTo>
                    <a:pt x="1156" y="277"/>
                  </a:lnTo>
                  <a:lnTo>
                    <a:pt x="1165" y="278"/>
                  </a:lnTo>
                  <a:lnTo>
                    <a:pt x="1172" y="277"/>
                  </a:lnTo>
                  <a:lnTo>
                    <a:pt x="1176" y="276"/>
                  </a:lnTo>
                  <a:lnTo>
                    <a:pt x="1181" y="276"/>
                  </a:lnTo>
                  <a:lnTo>
                    <a:pt x="1183" y="276"/>
                  </a:lnTo>
                  <a:lnTo>
                    <a:pt x="1185" y="274"/>
                  </a:lnTo>
                  <a:lnTo>
                    <a:pt x="1186" y="273"/>
                  </a:lnTo>
                  <a:lnTo>
                    <a:pt x="1186" y="270"/>
                  </a:lnTo>
                  <a:lnTo>
                    <a:pt x="1185" y="267"/>
                  </a:lnTo>
                  <a:lnTo>
                    <a:pt x="1183" y="265"/>
                  </a:lnTo>
                  <a:lnTo>
                    <a:pt x="1180" y="263"/>
                  </a:lnTo>
                  <a:lnTo>
                    <a:pt x="1177" y="263"/>
                  </a:lnTo>
                  <a:lnTo>
                    <a:pt x="1171" y="263"/>
                  </a:lnTo>
                  <a:lnTo>
                    <a:pt x="1166" y="263"/>
                  </a:lnTo>
                  <a:lnTo>
                    <a:pt x="1164" y="263"/>
                  </a:lnTo>
                  <a:lnTo>
                    <a:pt x="1160" y="263"/>
                  </a:lnTo>
                  <a:lnTo>
                    <a:pt x="1156" y="264"/>
                  </a:lnTo>
                  <a:lnTo>
                    <a:pt x="1152" y="266"/>
                  </a:lnTo>
                  <a:lnTo>
                    <a:pt x="1145" y="271"/>
                  </a:lnTo>
                  <a:lnTo>
                    <a:pt x="1143" y="274"/>
                  </a:lnTo>
                  <a:close/>
                  <a:moveTo>
                    <a:pt x="984" y="288"/>
                  </a:moveTo>
                  <a:lnTo>
                    <a:pt x="983" y="290"/>
                  </a:lnTo>
                  <a:lnTo>
                    <a:pt x="982" y="293"/>
                  </a:lnTo>
                  <a:lnTo>
                    <a:pt x="981" y="298"/>
                  </a:lnTo>
                  <a:lnTo>
                    <a:pt x="981" y="303"/>
                  </a:lnTo>
                  <a:lnTo>
                    <a:pt x="981" y="309"/>
                  </a:lnTo>
                  <a:lnTo>
                    <a:pt x="981" y="314"/>
                  </a:lnTo>
                  <a:lnTo>
                    <a:pt x="983" y="318"/>
                  </a:lnTo>
                  <a:lnTo>
                    <a:pt x="985" y="322"/>
                  </a:lnTo>
                  <a:lnTo>
                    <a:pt x="987" y="324"/>
                  </a:lnTo>
                  <a:lnTo>
                    <a:pt x="991" y="325"/>
                  </a:lnTo>
                  <a:lnTo>
                    <a:pt x="995" y="327"/>
                  </a:lnTo>
                  <a:lnTo>
                    <a:pt x="999" y="325"/>
                  </a:lnTo>
                  <a:lnTo>
                    <a:pt x="1003" y="324"/>
                  </a:lnTo>
                  <a:lnTo>
                    <a:pt x="1005" y="323"/>
                  </a:lnTo>
                  <a:lnTo>
                    <a:pt x="1007" y="320"/>
                  </a:lnTo>
                  <a:lnTo>
                    <a:pt x="1006" y="318"/>
                  </a:lnTo>
                  <a:lnTo>
                    <a:pt x="998" y="306"/>
                  </a:lnTo>
                  <a:lnTo>
                    <a:pt x="991" y="297"/>
                  </a:lnTo>
                  <a:lnTo>
                    <a:pt x="987" y="292"/>
                  </a:lnTo>
                  <a:lnTo>
                    <a:pt x="984" y="288"/>
                  </a:lnTo>
                  <a:close/>
                  <a:moveTo>
                    <a:pt x="1115" y="164"/>
                  </a:moveTo>
                  <a:lnTo>
                    <a:pt x="1114" y="167"/>
                  </a:lnTo>
                  <a:lnTo>
                    <a:pt x="1114" y="170"/>
                  </a:lnTo>
                  <a:lnTo>
                    <a:pt x="1115" y="174"/>
                  </a:lnTo>
                  <a:lnTo>
                    <a:pt x="1117" y="177"/>
                  </a:lnTo>
                  <a:lnTo>
                    <a:pt x="1119" y="179"/>
                  </a:lnTo>
                  <a:lnTo>
                    <a:pt x="1121" y="181"/>
                  </a:lnTo>
                  <a:lnTo>
                    <a:pt x="1123" y="181"/>
                  </a:lnTo>
                  <a:lnTo>
                    <a:pt x="1125" y="179"/>
                  </a:lnTo>
                  <a:lnTo>
                    <a:pt x="1131" y="174"/>
                  </a:lnTo>
                  <a:lnTo>
                    <a:pt x="1136" y="167"/>
                  </a:lnTo>
                  <a:lnTo>
                    <a:pt x="1138" y="165"/>
                  </a:lnTo>
                  <a:lnTo>
                    <a:pt x="1140" y="162"/>
                  </a:lnTo>
                  <a:lnTo>
                    <a:pt x="1140" y="160"/>
                  </a:lnTo>
                  <a:lnTo>
                    <a:pt x="1139" y="159"/>
                  </a:lnTo>
                  <a:lnTo>
                    <a:pt x="1136" y="157"/>
                  </a:lnTo>
                  <a:lnTo>
                    <a:pt x="1135" y="156"/>
                  </a:lnTo>
                  <a:lnTo>
                    <a:pt x="1133" y="156"/>
                  </a:lnTo>
                  <a:lnTo>
                    <a:pt x="1130" y="157"/>
                  </a:lnTo>
                  <a:lnTo>
                    <a:pt x="1120" y="161"/>
                  </a:lnTo>
                  <a:lnTo>
                    <a:pt x="1115" y="164"/>
                  </a:lnTo>
                  <a:close/>
                  <a:moveTo>
                    <a:pt x="1124" y="220"/>
                  </a:moveTo>
                  <a:lnTo>
                    <a:pt x="1123" y="223"/>
                  </a:lnTo>
                  <a:lnTo>
                    <a:pt x="1124" y="226"/>
                  </a:lnTo>
                  <a:lnTo>
                    <a:pt x="1125" y="229"/>
                  </a:lnTo>
                  <a:lnTo>
                    <a:pt x="1128" y="231"/>
                  </a:lnTo>
                  <a:lnTo>
                    <a:pt x="1131" y="236"/>
                  </a:lnTo>
                  <a:lnTo>
                    <a:pt x="1132" y="241"/>
                  </a:lnTo>
                  <a:lnTo>
                    <a:pt x="1128" y="245"/>
                  </a:lnTo>
                  <a:lnTo>
                    <a:pt x="1122" y="248"/>
                  </a:lnTo>
                  <a:lnTo>
                    <a:pt x="1121" y="249"/>
                  </a:lnTo>
                  <a:lnTo>
                    <a:pt x="1120" y="252"/>
                  </a:lnTo>
                  <a:lnTo>
                    <a:pt x="1122" y="254"/>
                  </a:lnTo>
                  <a:lnTo>
                    <a:pt x="1125" y="257"/>
                  </a:lnTo>
                  <a:lnTo>
                    <a:pt x="1131" y="261"/>
                  </a:lnTo>
                  <a:lnTo>
                    <a:pt x="1136" y="262"/>
                  </a:lnTo>
                  <a:lnTo>
                    <a:pt x="1139" y="262"/>
                  </a:lnTo>
                  <a:lnTo>
                    <a:pt x="1143" y="261"/>
                  </a:lnTo>
                  <a:lnTo>
                    <a:pt x="1149" y="258"/>
                  </a:lnTo>
                  <a:lnTo>
                    <a:pt x="1153" y="255"/>
                  </a:lnTo>
                  <a:lnTo>
                    <a:pt x="1160" y="252"/>
                  </a:lnTo>
                  <a:lnTo>
                    <a:pt x="1168" y="249"/>
                  </a:lnTo>
                  <a:lnTo>
                    <a:pt x="1173" y="246"/>
                  </a:lnTo>
                  <a:lnTo>
                    <a:pt x="1175" y="244"/>
                  </a:lnTo>
                  <a:lnTo>
                    <a:pt x="1176" y="243"/>
                  </a:lnTo>
                  <a:lnTo>
                    <a:pt x="1176" y="241"/>
                  </a:lnTo>
                  <a:lnTo>
                    <a:pt x="1176" y="240"/>
                  </a:lnTo>
                  <a:lnTo>
                    <a:pt x="1175" y="237"/>
                  </a:lnTo>
                  <a:lnTo>
                    <a:pt x="1172" y="231"/>
                  </a:lnTo>
                  <a:lnTo>
                    <a:pt x="1171" y="225"/>
                  </a:lnTo>
                  <a:lnTo>
                    <a:pt x="1168" y="223"/>
                  </a:lnTo>
                  <a:lnTo>
                    <a:pt x="1165" y="221"/>
                  </a:lnTo>
                  <a:lnTo>
                    <a:pt x="1160" y="219"/>
                  </a:lnTo>
                  <a:lnTo>
                    <a:pt x="1154" y="218"/>
                  </a:lnTo>
                  <a:lnTo>
                    <a:pt x="1139" y="218"/>
                  </a:lnTo>
                  <a:lnTo>
                    <a:pt x="1131" y="218"/>
                  </a:lnTo>
                  <a:lnTo>
                    <a:pt x="1125" y="220"/>
                  </a:lnTo>
                  <a:lnTo>
                    <a:pt x="1124" y="220"/>
                  </a:lnTo>
                  <a:close/>
                  <a:moveTo>
                    <a:pt x="1007" y="218"/>
                  </a:moveTo>
                  <a:lnTo>
                    <a:pt x="1006" y="220"/>
                  </a:lnTo>
                  <a:lnTo>
                    <a:pt x="1005" y="222"/>
                  </a:lnTo>
                  <a:lnTo>
                    <a:pt x="1005" y="223"/>
                  </a:lnTo>
                  <a:lnTo>
                    <a:pt x="1005" y="225"/>
                  </a:lnTo>
                  <a:lnTo>
                    <a:pt x="1007" y="227"/>
                  </a:lnTo>
                  <a:lnTo>
                    <a:pt x="1011" y="228"/>
                  </a:lnTo>
                  <a:lnTo>
                    <a:pt x="1019" y="231"/>
                  </a:lnTo>
                  <a:lnTo>
                    <a:pt x="1024" y="233"/>
                  </a:lnTo>
                  <a:lnTo>
                    <a:pt x="1029" y="235"/>
                  </a:lnTo>
                  <a:lnTo>
                    <a:pt x="1034" y="235"/>
                  </a:lnTo>
                  <a:lnTo>
                    <a:pt x="1036" y="236"/>
                  </a:lnTo>
                  <a:lnTo>
                    <a:pt x="1037" y="237"/>
                  </a:lnTo>
                  <a:lnTo>
                    <a:pt x="1036" y="239"/>
                  </a:lnTo>
                  <a:lnTo>
                    <a:pt x="1032" y="242"/>
                  </a:lnTo>
                  <a:lnTo>
                    <a:pt x="1023" y="247"/>
                  </a:lnTo>
                  <a:lnTo>
                    <a:pt x="1014" y="249"/>
                  </a:lnTo>
                  <a:lnTo>
                    <a:pt x="1012" y="250"/>
                  </a:lnTo>
                  <a:lnTo>
                    <a:pt x="1010" y="251"/>
                  </a:lnTo>
                  <a:lnTo>
                    <a:pt x="1010" y="252"/>
                  </a:lnTo>
                  <a:lnTo>
                    <a:pt x="1010" y="253"/>
                  </a:lnTo>
                  <a:lnTo>
                    <a:pt x="1011" y="255"/>
                  </a:lnTo>
                  <a:lnTo>
                    <a:pt x="1013" y="256"/>
                  </a:lnTo>
                  <a:lnTo>
                    <a:pt x="1015" y="258"/>
                  </a:lnTo>
                  <a:lnTo>
                    <a:pt x="1019" y="258"/>
                  </a:lnTo>
                  <a:lnTo>
                    <a:pt x="1024" y="259"/>
                  </a:lnTo>
                  <a:lnTo>
                    <a:pt x="1030" y="259"/>
                  </a:lnTo>
                  <a:lnTo>
                    <a:pt x="1043" y="254"/>
                  </a:lnTo>
                  <a:lnTo>
                    <a:pt x="1052" y="251"/>
                  </a:lnTo>
                  <a:lnTo>
                    <a:pt x="1056" y="253"/>
                  </a:lnTo>
                  <a:lnTo>
                    <a:pt x="1062" y="254"/>
                  </a:lnTo>
                  <a:lnTo>
                    <a:pt x="1065" y="254"/>
                  </a:lnTo>
                  <a:lnTo>
                    <a:pt x="1067" y="255"/>
                  </a:lnTo>
                  <a:lnTo>
                    <a:pt x="1068" y="256"/>
                  </a:lnTo>
                  <a:lnTo>
                    <a:pt x="1068" y="258"/>
                  </a:lnTo>
                  <a:lnTo>
                    <a:pt x="1067" y="262"/>
                  </a:lnTo>
                  <a:lnTo>
                    <a:pt x="1066" y="264"/>
                  </a:lnTo>
                  <a:lnTo>
                    <a:pt x="1066" y="266"/>
                  </a:lnTo>
                  <a:lnTo>
                    <a:pt x="1067" y="267"/>
                  </a:lnTo>
                  <a:lnTo>
                    <a:pt x="1070" y="268"/>
                  </a:lnTo>
                  <a:lnTo>
                    <a:pt x="1074" y="268"/>
                  </a:lnTo>
                  <a:lnTo>
                    <a:pt x="1081" y="270"/>
                  </a:lnTo>
                  <a:lnTo>
                    <a:pt x="1086" y="271"/>
                  </a:lnTo>
                  <a:lnTo>
                    <a:pt x="1088" y="270"/>
                  </a:lnTo>
                  <a:lnTo>
                    <a:pt x="1089" y="269"/>
                  </a:lnTo>
                  <a:lnTo>
                    <a:pt x="1091" y="267"/>
                  </a:lnTo>
                  <a:lnTo>
                    <a:pt x="1092" y="264"/>
                  </a:lnTo>
                  <a:lnTo>
                    <a:pt x="1094" y="261"/>
                  </a:lnTo>
                  <a:lnTo>
                    <a:pt x="1095" y="256"/>
                  </a:lnTo>
                  <a:lnTo>
                    <a:pt x="1095" y="253"/>
                  </a:lnTo>
                  <a:lnTo>
                    <a:pt x="1095" y="249"/>
                  </a:lnTo>
                  <a:lnTo>
                    <a:pt x="1095" y="243"/>
                  </a:lnTo>
                  <a:lnTo>
                    <a:pt x="1093" y="235"/>
                  </a:lnTo>
                  <a:lnTo>
                    <a:pt x="1092" y="232"/>
                  </a:lnTo>
                  <a:lnTo>
                    <a:pt x="1089" y="230"/>
                  </a:lnTo>
                  <a:lnTo>
                    <a:pt x="1084" y="227"/>
                  </a:lnTo>
                  <a:lnTo>
                    <a:pt x="1078" y="225"/>
                  </a:lnTo>
                  <a:lnTo>
                    <a:pt x="1066" y="222"/>
                  </a:lnTo>
                  <a:lnTo>
                    <a:pt x="1054" y="219"/>
                  </a:lnTo>
                  <a:lnTo>
                    <a:pt x="1043" y="212"/>
                  </a:lnTo>
                  <a:lnTo>
                    <a:pt x="1036" y="208"/>
                  </a:lnTo>
                  <a:lnTo>
                    <a:pt x="1033" y="208"/>
                  </a:lnTo>
                  <a:lnTo>
                    <a:pt x="1029" y="209"/>
                  </a:lnTo>
                  <a:lnTo>
                    <a:pt x="1023" y="210"/>
                  </a:lnTo>
                  <a:lnTo>
                    <a:pt x="1018" y="213"/>
                  </a:lnTo>
                  <a:lnTo>
                    <a:pt x="1009" y="218"/>
                  </a:lnTo>
                  <a:lnTo>
                    <a:pt x="1007" y="218"/>
                  </a:lnTo>
                  <a:close/>
                  <a:moveTo>
                    <a:pt x="875" y="290"/>
                  </a:moveTo>
                  <a:lnTo>
                    <a:pt x="877" y="291"/>
                  </a:lnTo>
                  <a:lnTo>
                    <a:pt x="880" y="292"/>
                  </a:lnTo>
                  <a:lnTo>
                    <a:pt x="884" y="291"/>
                  </a:lnTo>
                  <a:lnTo>
                    <a:pt x="889" y="291"/>
                  </a:lnTo>
                  <a:lnTo>
                    <a:pt x="897" y="289"/>
                  </a:lnTo>
                  <a:lnTo>
                    <a:pt x="901" y="288"/>
                  </a:lnTo>
                  <a:lnTo>
                    <a:pt x="905" y="288"/>
                  </a:lnTo>
                  <a:lnTo>
                    <a:pt x="915" y="287"/>
                  </a:lnTo>
                  <a:lnTo>
                    <a:pt x="919" y="286"/>
                  </a:lnTo>
                  <a:lnTo>
                    <a:pt x="924" y="284"/>
                  </a:lnTo>
                  <a:lnTo>
                    <a:pt x="927" y="283"/>
                  </a:lnTo>
                  <a:lnTo>
                    <a:pt x="930" y="280"/>
                  </a:lnTo>
                  <a:lnTo>
                    <a:pt x="931" y="275"/>
                  </a:lnTo>
                  <a:lnTo>
                    <a:pt x="931" y="269"/>
                  </a:lnTo>
                  <a:lnTo>
                    <a:pt x="930" y="266"/>
                  </a:lnTo>
                  <a:lnTo>
                    <a:pt x="928" y="264"/>
                  </a:lnTo>
                  <a:lnTo>
                    <a:pt x="926" y="262"/>
                  </a:lnTo>
                  <a:lnTo>
                    <a:pt x="923" y="262"/>
                  </a:lnTo>
                  <a:lnTo>
                    <a:pt x="918" y="265"/>
                  </a:lnTo>
                  <a:lnTo>
                    <a:pt x="908" y="272"/>
                  </a:lnTo>
                  <a:lnTo>
                    <a:pt x="897" y="278"/>
                  </a:lnTo>
                  <a:lnTo>
                    <a:pt x="887" y="284"/>
                  </a:lnTo>
                  <a:lnTo>
                    <a:pt x="878" y="289"/>
                  </a:lnTo>
                  <a:lnTo>
                    <a:pt x="875" y="290"/>
                  </a:lnTo>
                  <a:close/>
                  <a:moveTo>
                    <a:pt x="840" y="320"/>
                  </a:moveTo>
                  <a:lnTo>
                    <a:pt x="847" y="320"/>
                  </a:lnTo>
                  <a:lnTo>
                    <a:pt x="855" y="318"/>
                  </a:lnTo>
                  <a:lnTo>
                    <a:pt x="858" y="318"/>
                  </a:lnTo>
                  <a:lnTo>
                    <a:pt x="861" y="318"/>
                  </a:lnTo>
                  <a:lnTo>
                    <a:pt x="864" y="319"/>
                  </a:lnTo>
                  <a:lnTo>
                    <a:pt x="862" y="321"/>
                  </a:lnTo>
                  <a:lnTo>
                    <a:pt x="862" y="324"/>
                  </a:lnTo>
                  <a:lnTo>
                    <a:pt x="864" y="327"/>
                  </a:lnTo>
                  <a:lnTo>
                    <a:pt x="866" y="329"/>
                  </a:lnTo>
                  <a:lnTo>
                    <a:pt x="869" y="330"/>
                  </a:lnTo>
                  <a:lnTo>
                    <a:pt x="876" y="332"/>
                  </a:lnTo>
                  <a:lnTo>
                    <a:pt x="882" y="333"/>
                  </a:lnTo>
                  <a:lnTo>
                    <a:pt x="886" y="332"/>
                  </a:lnTo>
                  <a:lnTo>
                    <a:pt x="890" y="329"/>
                  </a:lnTo>
                  <a:lnTo>
                    <a:pt x="895" y="323"/>
                  </a:lnTo>
                  <a:lnTo>
                    <a:pt x="901" y="318"/>
                  </a:lnTo>
                  <a:lnTo>
                    <a:pt x="911" y="308"/>
                  </a:lnTo>
                  <a:lnTo>
                    <a:pt x="915" y="303"/>
                  </a:lnTo>
                  <a:lnTo>
                    <a:pt x="918" y="301"/>
                  </a:lnTo>
                  <a:lnTo>
                    <a:pt x="925" y="298"/>
                  </a:lnTo>
                  <a:lnTo>
                    <a:pt x="930" y="296"/>
                  </a:lnTo>
                  <a:lnTo>
                    <a:pt x="932" y="294"/>
                  </a:lnTo>
                  <a:lnTo>
                    <a:pt x="934" y="292"/>
                  </a:lnTo>
                  <a:lnTo>
                    <a:pt x="933" y="291"/>
                  </a:lnTo>
                  <a:lnTo>
                    <a:pt x="930" y="290"/>
                  </a:lnTo>
                  <a:lnTo>
                    <a:pt x="924" y="290"/>
                  </a:lnTo>
                  <a:lnTo>
                    <a:pt x="916" y="291"/>
                  </a:lnTo>
                  <a:lnTo>
                    <a:pt x="900" y="297"/>
                  </a:lnTo>
                  <a:lnTo>
                    <a:pt x="888" y="305"/>
                  </a:lnTo>
                  <a:lnTo>
                    <a:pt x="881" y="309"/>
                  </a:lnTo>
                  <a:lnTo>
                    <a:pt x="880" y="310"/>
                  </a:lnTo>
                  <a:lnTo>
                    <a:pt x="878" y="311"/>
                  </a:lnTo>
                  <a:lnTo>
                    <a:pt x="877" y="311"/>
                  </a:lnTo>
                  <a:lnTo>
                    <a:pt x="875" y="310"/>
                  </a:lnTo>
                  <a:lnTo>
                    <a:pt x="867" y="311"/>
                  </a:lnTo>
                  <a:lnTo>
                    <a:pt x="855" y="315"/>
                  </a:lnTo>
                  <a:lnTo>
                    <a:pt x="845" y="318"/>
                  </a:lnTo>
                  <a:lnTo>
                    <a:pt x="840" y="320"/>
                  </a:lnTo>
                  <a:close/>
                  <a:moveTo>
                    <a:pt x="718" y="439"/>
                  </a:moveTo>
                  <a:lnTo>
                    <a:pt x="714" y="441"/>
                  </a:lnTo>
                  <a:lnTo>
                    <a:pt x="707" y="444"/>
                  </a:lnTo>
                  <a:lnTo>
                    <a:pt x="704" y="446"/>
                  </a:lnTo>
                  <a:lnTo>
                    <a:pt x="702" y="447"/>
                  </a:lnTo>
                  <a:lnTo>
                    <a:pt x="699" y="448"/>
                  </a:lnTo>
                  <a:lnTo>
                    <a:pt x="698" y="447"/>
                  </a:lnTo>
                  <a:lnTo>
                    <a:pt x="697" y="446"/>
                  </a:lnTo>
                  <a:lnTo>
                    <a:pt x="696" y="443"/>
                  </a:lnTo>
                  <a:lnTo>
                    <a:pt x="697" y="439"/>
                  </a:lnTo>
                  <a:lnTo>
                    <a:pt x="698" y="434"/>
                  </a:lnTo>
                  <a:lnTo>
                    <a:pt x="701" y="427"/>
                  </a:lnTo>
                  <a:lnTo>
                    <a:pt x="705" y="423"/>
                  </a:lnTo>
                  <a:lnTo>
                    <a:pt x="718" y="413"/>
                  </a:lnTo>
                  <a:lnTo>
                    <a:pt x="742" y="395"/>
                  </a:lnTo>
                  <a:lnTo>
                    <a:pt x="766" y="375"/>
                  </a:lnTo>
                  <a:lnTo>
                    <a:pt x="781" y="363"/>
                  </a:lnTo>
                  <a:lnTo>
                    <a:pt x="787" y="358"/>
                  </a:lnTo>
                  <a:lnTo>
                    <a:pt x="798" y="351"/>
                  </a:lnTo>
                  <a:lnTo>
                    <a:pt x="808" y="344"/>
                  </a:lnTo>
                  <a:lnTo>
                    <a:pt x="816" y="339"/>
                  </a:lnTo>
                  <a:lnTo>
                    <a:pt x="822" y="335"/>
                  </a:lnTo>
                  <a:lnTo>
                    <a:pt x="826" y="332"/>
                  </a:lnTo>
                  <a:lnTo>
                    <a:pt x="828" y="330"/>
                  </a:lnTo>
                  <a:lnTo>
                    <a:pt x="829" y="330"/>
                  </a:lnTo>
                  <a:lnTo>
                    <a:pt x="829" y="331"/>
                  </a:lnTo>
                  <a:lnTo>
                    <a:pt x="829" y="333"/>
                  </a:lnTo>
                  <a:lnTo>
                    <a:pt x="828" y="338"/>
                  </a:lnTo>
                  <a:lnTo>
                    <a:pt x="826" y="344"/>
                  </a:lnTo>
                  <a:lnTo>
                    <a:pt x="824" y="349"/>
                  </a:lnTo>
                  <a:lnTo>
                    <a:pt x="822" y="352"/>
                  </a:lnTo>
                  <a:lnTo>
                    <a:pt x="812" y="360"/>
                  </a:lnTo>
                  <a:lnTo>
                    <a:pt x="804" y="371"/>
                  </a:lnTo>
                  <a:lnTo>
                    <a:pt x="803" y="375"/>
                  </a:lnTo>
                  <a:lnTo>
                    <a:pt x="802" y="380"/>
                  </a:lnTo>
                  <a:lnTo>
                    <a:pt x="800" y="386"/>
                  </a:lnTo>
                  <a:lnTo>
                    <a:pt x="793" y="393"/>
                  </a:lnTo>
                  <a:lnTo>
                    <a:pt x="787" y="400"/>
                  </a:lnTo>
                  <a:lnTo>
                    <a:pt x="782" y="406"/>
                  </a:lnTo>
                  <a:lnTo>
                    <a:pt x="779" y="408"/>
                  </a:lnTo>
                  <a:lnTo>
                    <a:pt x="777" y="410"/>
                  </a:lnTo>
                  <a:lnTo>
                    <a:pt x="774" y="410"/>
                  </a:lnTo>
                  <a:lnTo>
                    <a:pt x="773" y="410"/>
                  </a:lnTo>
                  <a:lnTo>
                    <a:pt x="772" y="405"/>
                  </a:lnTo>
                  <a:lnTo>
                    <a:pt x="773" y="397"/>
                  </a:lnTo>
                  <a:lnTo>
                    <a:pt x="773" y="394"/>
                  </a:lnTo>
                  <a:lnTo>
                    <a:pt x="772" y="393"/>
                  </a:lnTo>
                  <a:lnTo>
                    <a:pt x="771" y="393"/>
                  </a:lnTo>
                  <a:lnTo>
                    <a:pt x="768" y="395"/>
                  </a:lnTo>
                  <a:lnTo>
                    <a:pt x="757" y="407"/>
                  </a:lnTo>
                  <a:lnTo>
                    <a:pt x="744" y="423"/>
                  </a:lnTo>
                  <a:lnTo>
                    <a:pt x="738" y="431"/>
                  </a:lnTo>
                  <a:lnTo>
                    <a:pt x="732" y="440"/>
                  </a:lnTo>
                  <a:lnTo>
                    <a:pt x="726" y="445"/>
                  </a:lnTo>
                  <a:lnTo>
                    <a:pt x="722" y="448"/>
                  </a:lnTo>
                  <a:lnTo>
                    <a:pt x="720" y="448"/>
                  </a:lnTo>
                  <a:lnTo>
                    <a:pt x="720" y="446"/>
                  </a:lnTo>
                  <a:lnTo>
                    <a:pt x="721" y="444"/>
                  </a:lnTo>
                  <a:lnTo>
                    <a:pt x="721" y="442"/>
                  </a:lnTo>
                  <a:lnTo>
                    <a:pt x="724" y="437"/>
                  </a:lnTo>
                  <a:lnTo>
                    <a:pt x="725" y="434"/>
                  </a:lnTo>
                  <a:lnTo>
                    <a:pt x="722" y="437"/>
                  </a:lnTo>
                  <a:lnTo>
                    <a:pt x="718" y="439"/>
                  </a:lnTo>
                  <a:close/>
                  <a:moveTo>
                    <a:pt x="748" y="451"/>
                  </a:moveTo>
                  <a:lnTo>
                    <a:pt x="755" y="448"/>
                  </a:lnTo>
                  <a:lnTo>
                    <a:pt x="760" y="444"/>
                  </a:lnTo>
                  <a:lnTo>
                    <a:pt x="763" y="441"/>
                  </a:lnTo>
                  <a:lnTo>
                    <a:pt x="765" y="439"/>
                  </a:lnTo>
                  <a:lnTo>
                    <a:pt x="766" y="435"/>
                  </a:lnTo>
                  <a:lnTo>
                    <a:pt x="767" y="431"/>
                  </a:lnTo>
                  <a:lnTo>
                    <a:pt x="769" y="425"/>
                  </a:lnTo>
                  <a:lnTo>
                    <a:pt x="770" y="419"/>
                  </a:lnTo>
                  <a:lnTo>
                    <a:pt x="771" y="418"/>
                  </a:lnTo>
                  <a:lnTo>
                    <a:pt x="771" y="417"/>
                  </a:lnTo>
                  <a:lnTo>
                    <a:pt x="770" y="417"/>
                  </a:lnTo>
                  <a:lnTo>
                    <a:pt x="769" y="418"/>
                  </a:lnTo>
                  <a:lnTo>
                    <a:pt x="756" y="429"/>
                  </a:lnTo>
                  <a:lnTo>
                    <a:pt x="744" y="440"/>
                  </a:lnTo>
                  <a:lnTo>
                    <a:pt x="742" y="448"/>
                  </a:lnTo>
                  <a:lnTo>
                    <a:pt x="743" y="453"/>
                  </a:lnTo>
                  <a:lnTo>
                    <a:pt x="746" y="451"/>
                  </a:lnTo>
                  <a:lnTo>
                    <a:pt x="748" y="451"/>
                  </a:lnTo>
                  <a:close/>
                  <a:moveTo>
                    <a:pt x="766" y="454"/>
                  </a:moveTo>
                  <a:lnTo>
                    <a:pt x="768" y="456"/>
                  </a:lnTo>
                  <a:lnTo>
                    <a:pt x="771" y="457"/>
                  </a:lnTo>
                  <a:lnTo>
                    <a:pt x="776" y="459"/>
                  </a:lnTo>
                  <a:lnTo>
                    <a:pt x="782" y="460"/>
                  </a:lnTo>
                  <a:lnTo>
                    <a:pt x="787" y="461"/>
                  </a:lnTo>
                  <a:lnTo>
                    <a:pt x="792" y="461"/>
                  </a:lnTo>
                  <a:lnTo>
                    <a:pt x="798" y="460"/>
                  </a:lnTo>
                  <a:lnTo>
                    <a:pt x="801" y="459"/>
                  </a:lnTo>
                  <a:lnTo>
                    <a:pt x="806" y="453"/>
                  </a:lnTo>
                  <a:lnTo>
                    <a:pt x="815" y="446"/>
                  </a:lnTo>
                  <a:lnTo>
                    <a:pt x="820" y="442"/>
                  </a:lnTo>
                  <a:lnTo>
                    <a:pt x="823" y="440"/>
                  </a:lnTo>
                  <a:lnTo>
                    <a:pt x="826" y="439"/>
                  </a:lnTo>
                  <a:lnTo>
                    <a:pt x="827" y="439"/>
                  </a:lnTo>
                  <a:lnTo>
                    <a:pt x="828" y="440"/>
                  </a:lnTo>
                  <a:lnTo>
                    <a:pt x="830" y="441"/>
                  </a:lnTo>
                  <a:lnTo>
                    <a:pt x="833" y="441"/>
                  </a:lnTo>
                  <a:lnTo>
                    <a:pt x="836" y="441"/>
                  </a:lnTo>
                  <a:lnTo>
                    <a:pt x="844" y="441"/>
                  </a:lnTo>
                  <a:lnTo>
                    <a:pt x="849" y="441"/>
                  </a:lnTo>
                  <a:lnTo>
                    <a:pt x="854" y="440"/>
                  </a:lnTo>
                  <a:lnTo>
                    <a:pt x="860" y="440"/>
                  </a:lnTo>
                  <a:lnTo>
                    <a:pt x="862" y="440"/>
                  </a:lnTo>
                  <a:lnTo>
                    <a:pt x="865" y="440"/>
                  </a:lnTo>
                  <a:lnTo>
                    <a:pt x="866" y="440"/>
                  </a:lnTo>
                  <a:lnTo>
                    <a:pt x="865" y="442"/>
                  </a:lnTo>
                  <a:lnTo>
                    <a:pt x="857" y="445"/>
                  </a:lnTo>
                  <a:lnTo>
                    <a:pt x="848" y="447"/>
                  </a:lnTo>
                  <a:lnTo>
                    <a:pt x="843" y="449"/>
                  </a:lnTo>
                  <a:lnTo>
                    <a:pt x="838" y="451"/>
                  </a:lnTo>
                  <a:lnTo>
                    <a:pt x="834" y="453"/>
                  </a:lnTo>
                  <a:lnTo>
                    <a:pt x="831" y="456"/>
                  </a:lnTo>
                  <a:lnTo>
                    <a:pt x="824" y="463"/>
                  </a:lnTo>
                  <a:lnTo>
                    <a:pt x="812" y="469"/>
                  </a:lnTo>
                  <a:lnTo>
                    <a:pt x="803" y="475"/>
                  </a:lnTo>
                  <a:lnTo>
                    <a:pt x="800" y="479"/>
                  </a:lnTo>
                  <a:lnTo>
                    <a:pt x="801" y="481"/>
                  </a:lnTo>
                  <a:lnTo>
                    <a:pt x="803" y="482"/>
                  </a:lnTo>
                  <a:lnTo>
                    <a:pt x="805" y="483"/>
                  </a:lnTo>
                  <a:lnTo>
                    <a:pt x="809" y="483"/>
                  </a:lnTo>
                  <a:lnTo>
                    <a:pt x="816" y="484"/>
                  </a:lnTo>
                  <a:lnTo>
                    <a:pt x="825" y="482"/>
                  </a:lnTo>
                  <a:lnTo>
                    <a:pt x="831" y="482"/>
                  </a:lnTo>
                  <a:lnTo>
                    <a:pt x="838" y="481"/>
                  </a:lnTo>
                  <a:lnTo>
                    <a:pt x="842" y="479"/>
                  </a:lnTo>
                  <a:lnTo>
                    <a:pt x="846" y="477"/>
                  </a:lnTo>
                  <a:lnTo>
                    <a:pt x="852" y="473"/>
                  </a:lnTo>
                  <a:lnTo>
                    <a:pt x="858" y="468"/>
                  </a:lnTo>
                  <a:lnTo>
                    <a:pt x="872" y="455"/>
                  </a:lnTo>
                  <a:lnTo>
                    <a:pt x="883" y="444"/>
                  </a:lnTo>
                  <a:lnTo>
                    <a:pt x="889" y="441"/>
                  </a:lnTo>
                  <a:lnTo>
                    <a:pt x="893" y="438"/>
                  </a:lnTo>
                  <a:lnTo>
                    <a:pt x="896" y="437"/>
                  </a:lnTo>
                  <a:lnTo>
                    <a:pt x="899" y="437"/>
                  </a:lnTo>
                  <a:lnTo>
                    <a:pt x="903" y="440"/>
                  </a:lnTo>
                  <a:lnTo>
                    <a:pt x="904" y="444"/>
                  </a:lnTo>
                  <a:lnTo>
                    <a:pt x="905" y="445"/>
                  </a:lnTo>
                  <a:lnTo>
                    <a:pt x="908" y="445"/>
                  </a:lnTo>
                  <a:lnTo>
                    <a:pt x="909" y="445"/>
                  </a:lnTo>
                  <a:lnTo>
                    <a:pt x="912" y="444"/>
                  </a:lnTo>
                  <a:lnTo>
                    <a:pt x="918" y="441"/>
                  </a:lnTo>
                  <a:lnTo>
                    <a:pt x="924" y="440"/>
                  </a:lnTo>
                  <a:lnTo>
                    <a:pt x="930" y="440"/>
                  </a:lnTo>
                  <a:lnTo>
                    <a:pt x="932" y="440"/>
                  </a:lnTo>
                  <a:lnTo>
                    <a:pt x="932" y="441"/>
                  </a:lnTo>
                  <a:lnTo>
                    <a:pt x="934" y="442"/>
                  </a:lnTo>
                  <a:lnTo>
                    <a:pt x="935" y="443"/>
                  </a:lnTo>
                  <a:lnTo>
                    <a:pt x="936" y="442"/>
                  </a:lnTo>
                  <a:lnTo>
                    <a:pt x="938" y="441"/>
                  </a:lnTo>
                  <a:lnTo>
                    <a:pt x="940" y="438"/>
                  </a:lnTo>
                  <a:lnTo>
                    <a:pt x="949" y="424"/>
                  </a:lnTo>
                  <a:lnTo>
                    <a:pt x="954" y="418"/>
                  </a:lnTo>
                  <a:lnTo>
                    <a:pt x="956" y="416"/>
                  </a:lnTo>
                  <a:lnTo>
                    <a:pt x="961" y="410"/>
                  </a:lnTo>
                  <a:lnTo>
                    <a:pt x="963" y="407"/>
                  </a:lnTo>
                  <a:lnTo>
                    <a:pt x="965" y="403"/>
                  </a:lnTo>
                  <a:lnTo>
                    <a:pt x="966" y="399"/>
                  </a:lnTo>
                  <a:lnTo>
                    <a:pt x="965" y="395"/>
                  </a:lnTo>
                  <a:lnTo>
                    <a:pt x="964" y="386"/>
                  </a:lnTo>
                  <a:lnTo>
                    <a:pt x="962" y="378"/>
                  </a:lnTo>
                  <a:lnTo>
                    <a:pt x="961" y="376"/>
                  </a:lnTo>
                  <a:lnTo>
                    <a:pt x="958" y="375"/>
                  </a:lnTo>
                  <a:lnTo>
                    <a:pt x="955" y="377"/>
                  </a:lnTo>
                  <a:lnTo>
                    <a:pt x="949" y="380"/>
                  </a:lnTo>
                  <a:lnTo>
                    <a:pt x="941" y="388"/>
                  </a:lnTo>
                  <a:lnTo>
                    <a:pt x="937" y="391"/>
                  </a:lnTo>
                  <a:lnTo>
                    <a:pt x="934" y="391"/>
                  </a:lnTo>
                  <a:lnTo>
                    <a:pt x="932" y="388"/>
                  </a:lnTo>
                  <a:lnTo>
                    <a:pt x="928" y="384"/>
                  </a:lnTo>
                  <a:lnTo>
                    <a:pt x="924" y="379"/>
                  </a:lnTo>
                  <a:lnTo>
                    <a:pt x="923" y="377"/>
                  </a:lnTo>
                  <a:lnTo>
                    <a:pt x="922" y="374"/>
                  </a:lnTo>
                  <a:lnTo>
                    <a:pt x="921" y="372"/>
                  </a:lnTo>
                  <a:lnTo>
                    <a:pt x="922" y="371"/>
                  </a:lnTo>
                  <a:lnTo>
                    <a:pt x="925" y="365"/>
                  </a:lnTo>
                  <a:lnTo>
                    <a:pt x="928" y="361"/>
                  </a:lnTo>
                  <a:lnTo>
                    <a:pt x="930" y="358"/>
                  </a:lnTo>
                  <a:lnTo>
                    <a:pt x="930" y="356"/>
                  </a:lnTo>
                  <a:lnTo>
                    <a:pt x="930" y="354"/>
                  </a:lnTo>
                  <a:lnTo>
                    <a:pt x="927" y="352"/>
                  </a:lnTo>
                  <a:lnTo>
                    <a:pt x="925" y="351"/>
                  </a:lnTo>
                  <a:lnTo>
                    <a:pt x="924" y="350"/>
                  </a:lnTo>
                  <a:lnTo>
                    <a:pt x="922" y="350"/>
                  </a:lnTo>
                  <a:lnTo>
                    <a:pt x="920" y="351"/>
                  </a:lnTo>
                  <a:lnTo>
                    <a:pt x="915" y="354"/>
                  </a:lnTo>
                  <a:lnTo>
                    <a:pt x="906" y="359"/>
                  </a:lnTo>
                  <a:lnTo>
                    <a:pt x="902" y="361"/>
                  </a:lnTo>
                  <a:lnTo>
                    <a:pt x="899" y="364"/>
                  </a:lnTo>
                  <a:lnTo>
                    <a:pt x="897" y="367"/>
                  </a:lnTo>
                  <a:lnTo>
                    <a:pt x="895" y="371"/>
                  </a:lnTo>
                  <a:lnTo>
                    <a:pt x="894" y="374"/>
                  </a:lnTo>
                  <a:lnTo>
                    <a:pt x="894" y="376"/>
                  </a:lnTo>
                  <a:lnTo>
                    <a:pt x="897" y="381"/>
                  </a:lnTo>
                  <a:lnTo>
                    <a:pt x="900" y="390"/>
                  </a:lnTo>
                  <a:lnTo>
                    <a:pt x="898" y="394"/>
                  </a:lnTo>
                  <a:lnTo>
                    <a:pt x="895" y="397"/>
                  </a:lnTo>
                  <a:lnTo>
                    <a:pt x="893" y="398"/>
                  </a:lnTo>
                  <a:lnTo>
                    <a:pt x="892" y="399"/>
                  </a:lnTo>
                  <a:lnTo>
                    <a:pt x="892" y="400"/>
                  </a:lnTo>
                  <a:lnTo>
                    <a:pt x="893" y="401"/>
                  </a:lnTo>
                  <a:lnTo>
                    <a:pt x="896" y="402"/>
                  </a:lnTo>
                  <a:lnTo>
                    <a:pt x="900" y="402"/>
                  </a:lnTo>
                  <a:lnTo>
                    <a:pt x="902" y="402"/>
                  </a:lnTo>
                  <a:lnTo>
                    <a:pt x="903" y="403"/>
                  </a:lnTo>
                  <a:lnTo>
                    <a:pt x="903" y="404"/>
                  </a:lnTo>
                  <a:lnTo>
                    <a:pt x="902" y="406"/>
                  </a:lnTo>
                  <a:lnTo>
                    <a:pt x="899" y="412"/>
                  </a:lnTo>
                  <a:lnTo>
                    <a:pt x="895" y="420"/>
                  </a:lnTo>
                  <a:lnTo>
                    <a:pt x="892" y="422"/>
                  </a:lnTo>
                  <a:lnTo>
                    <a:pt x="890" y="424"/>
                  </a:lnTo>
                  <a:lnTo>
                    <a:pt x="888" y="425"/>
                  </a:lnTo>
                  <a:lnTo>
                    <a:pt x="886" y="425"/>
                  </a:lnTo>
                  <a:lnTo>
                    <a:pt x="872" y="419"/>
                  </a:lnTo>
                  <a:lnTo>
                    <a:pt x="861" y="413"/>
                  </a:lnTo>
                  <a:lnTo>
                    <a:pt x="860" y="409"/>
                  </a:lnTo>
                  <a:lnTo>
                    <a:pt x="859" y="403"/>
                  </a:lnTo>
                  <a:lnTo>
                    <a:pt x="858" y="400"/>
                  </a:lnTo>
                  <a:lnTo>
                    <a:pt x="856" y="398"/>
                  </a:lnTo>
                  <a:lnTo>
                    <a:pt x="854" y="395"/>
                  </a:lnTo>
                  <a:lnTo>
                    <a:pt x="851" y="394"/>
                  </a:lnTo>
                  <a:lnTo>
                    <a:pt x="844" y="389"/>
                  </a:lnTo>
                  <a:lnTo>
                    <a:pt x="838" y="384"/>
                  </a:lnTo>
                  <a:lnTo>
                    <a:pt x="835" y="382"/>
                  </a:lnTo>
                  <a:lnTo>
                    <a:pt x="832" y="382"/>
                  </a:lnTo>
                  <a:lnTo>
                    <a:pt x="829" y="383"/>
                  </a:lnTo>
                  <a:lnTo>
                    <a:pt x="825" y="386"/>
                  </a:lnTo>
                  <a:lnTo>
                    <a:pt x="809" y="399"/>
                  </a:lnTo>
                  <a:lnTo>
                    <a:pt x="803" y="406"/>
                  </a:lnTo>
                  <a:lnTo>
                    <a:pt x="799" y="409"/>
                  </a:lnTo>
                  <a:lnTo>
                    <a:pt x="792" y="411"/>
                  </a:lnTo>
                  <a:lnTo>
                    <a:pt x="789" y="412"/>
                  </a:lnTo>
                  <a:lnTo>
                    <a:pt x="787" y="415"/>
                  </a:lnTo>
                  <a:lnTo>
                    <a:pt x="786" y="417"/>
                  </a:lnTo>
                  <a:lnTo>
                    <a:pt x="787" y="420"/>
                  </a:lnTo>
                  <a:lnTo>
                    <a:pt x="790" y="423"/>
                  </a:lnTo>
                  <a:lnTo>
                    <a:pt x="793" y="425"/>
                  </a:lnTo>
                  <a:lnTo>
                    <a:pt x="796" y="426"/>
                  </a:lnTo>
                  <a:lnTo>
                    <a:pt x="800" y="427"/>
                  </a:lnTo>
                  <a:lnTo>
                    <a:pt x="803" y="428"/>
                  </a:lnTo>
                  <a:lnTo>
                    <a:pt x="804" y="429"/>
                  </a:lnTo>
                  <a:lnTo>
                    <a:pt x="804" y="429"/>
                  </a:lnTo>
                  <a:lnTo>
                    <a:pt x="802" y="431"/>
                  </a:lnTo>
                  <a:lnTo>
                    <a:pt x="789" y="438"/>
                  </a:lnTo>
                  <a:lnTo>
                    <a:pt x="779" y="443"/>
                  </a:lnTo>
                  <a:lnTo>
                    <a:pt x="770" y="450"/>
                  </a:lnTo>
                  <a:lnTo>
                    <a:pt x="766" y="454"/>
                  </a:lnTo>
                  <a:close/>
                  <a:moveTo>
                    <a:pt x="986" y="531"/>
                  </a:moveTo>
                  <a:lnTo>
                    <a:pt x="988" y="536"/>
                  </a:lnTo>
                  <a:lnTo>
                    <a:pt x="993" y="542"/>
                  </a:lnTo>
                  <a:lnTo>
                    <a:pt x="1002" y="549"/>
                  </a:lnTo>
                  <a:lnTo>
                    <a:pt x="1010" y="556"/>
                  </a:lnTo>
                  <a:lnTo>
                    <a:pt x="1019" y="562"/>
                  </a:lnTo>
                  <a:lnTo>
                    <a:pt x="1026" y="570"/>
                  </a:lnTo>
                  <a:lnTo>
                    <a:pt x="1032" y="575"/>
                  </a:lnTo>
                  <a:lnTo>
                    <a:pt x="1035" y="580"/>
                  </a:lnTo>
                  <a:lnTo>
                    <a:pt x="1036" y="588"/>
                  </a:lnTo>
                  <a:lnTo>
                    <a:pt x="1037" y="597"/>
                  </a:lnTo>
                  <a:lnTo>
                    <a:pt x="1037" y="600"/>
                  </a:lnTo>
                  <a:lnTo>
                    <a:pt x="1039" y="603"/>
                  </a:lnTo>
                  <a:lnTo>
                    <a:pt x="1041" y="604"/>
                  </a:lnTo>
                  <a:lnTo>
                    <a:pt x="1043" y="604"/>
                  </a:lnTo>
                  <a:lnTo>
                    <a:pt x="1050" y="601"/>
                  </a:lnTo>
                  <a:lnTo>
                    <a:pt x="1059" y="595"/>
                  </a:lnTo>
                  <a:lnTo>
                    <a:pt x="1069" y="586"/>
                  </a:lnTo>
                  <a:lnTo>
                    <a:pt x="1074" y="581"/>
                  </a:lnTo>
                  <a:lnTo>
                    <a:pt x="1079" y="574"/>
                  </a:lnTo>
                  <a:lnTo>
                    <a:pt x="1086" y="561"/>
                  </a:lnTo>
                  <a:lnTo>
                    <a:pt x="1089" y="554"/>
                  </a:lnTo>
                  <a:lnTo>
                    <a:pt x="1091" y="548"/>
                  </a:lnTo>
                  <a:lnTo>
                    <a:pt x="1091" y="541"/>
                  </a:lnTo>
                  <a:lnTo>
                    <a:pt x="1090" y="536"/>
                  </a:lnTo>
                  <a:lnTo>
                    <a:pt x="1086" y="532"/>
                  </a:lnTo>
                  <a:lnTo>
                    <a:pt x="1081" y="529"/>
                  </a:lnTo>
                  <a:lnTo>
                    <a:pt x="1076" y="526"/>
                  </a:lnTo>
                  <a:lnTo>
                    <a:pt x="1071" y="523"/>
                  </a:lnTo>
                  <a:lnTo>
                    <a:pt x="1067" y="520"/>
                  </a:lnTo>
                  <a:lnTo>
                    <a:pt x="1065" y="518"/>
                  </a:lnTo>
                  <a:lnTo>
                    <a:pt x="1064" y="516"/>
                  </a:lnTo>
                  <a:lnTo>
                    <a:pt x="1064" y="515"/>
                  </a:lnTo>
                  <a:lnTo>
                    <a:pt x="1064" y="514"/>
                  </a:lnTo>
                  <a:lnTo>
                    <a:pt x="1065" y="512"/>
                  </a:lnTo>
                  <a:lnTo>
                    <a:pt x="1071" y="504"/>
                  </a:lnTo>
                  <a:lnTo>
                    <a:pt x="1077" y="492"/>
                  </a:lnTo>
                  <a:lnTo>
                    <a:pt x="1083" y="483"/>
                  </a:lnTo>
                  <a:lnTo>
                    <a:pt x="1084" y="476"/>
                  </a:lnTo>
                  <a:lnTo>
                    <a:pt x="1085" y="471"/>
                  </a:lnTo>
                  <a:lnTo>
                    <a:pt x="1086" y="464"/>
                  </a:lnTo>
                  <a:lnTo>
                    <a:pt x="1085" y="461"/>
                  </a:lnTo>
                  <a:lnTo>
                    <a:pt x="1084" y="459"/>
                  </a:lnTo>
                  <a:lnTo>
                    <a:pt x="1083" y="457"/>
                  </a:lnTo>
                  <a:lnTo>
                    <a:pt x="1078" y="459"/>
                  </a:lnTo>
                  <a:lnTo>
                    <a:pt x="1074" y="463"/>
                  </a:lnTo>
                  <a:lnTo>
                    <a:pt x="1071" y="467"/>
                  </a:lnTo>
                  <a:lnTo>
                    <a:pt x="1068" y="473"/>
                  </a:lnTo>
                  <a:lnTo>
                    <a:pt x="1065" y="478"/>
                  </a:lnTo>
                  <a:lnTo>
                    <a:pt x="1062" y="484"/>
                  </a:lnTo>
                  <a:lnTo>
                    <a:pt x="1058" y="488"/>
                  </a:lnTo>
                  <a:lnTo>
                    <a:pt x="1056" y="489"/>
                  </a:lnTo>
                  <a:lnTo>
                    <a:pt x="1055" y="489"/>
                  </a:lnTo>
                  <a:lnTo>
                    <a:pt x="1053" y="489"/>
                  </a:lnTo>
                  <a:lnTo>
                    <a:pt x="1052" y="488"/>
                  </a:lnTo>
                  <a:lnTo>
                    <a:pt x="1047" y="482"/>
                  </a:lnTo>
                  <a:lnTo>
                    <a:pt x="1043" y="475"/>
                  </a:lnTo>
                  <a:lnTo>
                    <a:pt x="1042" y="474"/>
                  </a:lnTo>
                  <a:lnTo>
                    <a:pt x="1040" y="474"/>
                  </a:lnTo>
                  <a:lnTo>
                    <a:pt x="1037" y="475"/>
                  </a:lnTo>
                  <a:lnTo>
                    <a:pt x="1034" y="478"/>
                  </a:lnTo>
                  <a:lnTo>
                    <a:pt x="1028" y="486"/>
                  </a:lnTo>
                  <a:lnTo>
                    <a:pt x="1022" y="490"/>
                  </a:lnTo>
                  <a:lnTo>
                    <a:pt x="1019" y="492"/>
                  </a:lnTo>
                  <a:lnTo>
                    <a:pt x="1017" y="493"/>
                  </a:lnTo>
                  <a:lnTo>
                    <a:pt x="1015" y="495"/>
                  </a:lnTo>
                  <a:lnTo>
                    <a:pt x="1015" y="497"/>
                  </a:lnTo>
                  <a:lnTo>
                    <a:pt x="1017" y="500"/>
                  </a:lnTo>
                  <a:lnTo>
                    <a:pt x="1018" y="505"/>
                  </a:lnTo>
                  <a:lnTo>
                    <a:pt x="1020" y="508"/>
                  </a:lnTo>
                  <a:lnTo>
                    <a:pt x="1023" y="512"/>
                  </a:lnTo>
                  <a:lnTo>
                    <a:pt x="1027" y="518"/>
                  </a:lnTo>
                  <a:lnTo>
                    <a:pt x="1030" y="522"/>
                  </a:lnTo>
                  <a:lnTo>
                    <a:pt x="1028" y="527"/>
                  </a:lnTo>
                  <a:lnTo>
                    <a:pt x="1023" y="533"/>
                  </a:lnTo>
                  <a:lnTo>
                    <a:pt x="1021" y="535"/>
                  </a:lnTo>
                  <a:lnTo>
                    <a:pt x="1018" y="537"/>
                  </a:lnTo>
                  <a:lnTo>
                    <a:pt x="1015" y="537"/>
                  </a:lnTo>
                  <a:lnTo>
                    <a:pt x="1013" y="536"/>
                  </a:lnTo>
                  <a:lnTo>
                    <a:pt x="998" y="530"/>
                  </a:lnTo>
                  <a:lnTo>
                    <a:pt x="988" y="527"/>
                  </a:lnTo>
                  <a:lnTo>
                    <a:pt x="986" y="529"/>
                  </a:lnTo>
                  <a:lnTo>
                    <a:pt x="986" y="531"/>
                  </a:lnTo>
                  <a:close/>
                  <a:moveTo>
                    <a:pt x="705" y="596"/>
                  </a:moveTo>
                  <a:lnTo>
                    <a:pt x="719" y="585"/>
                  </a:lnTo>
                  <a:lnTo>
                    <a:pt x="740" y="570"/>
                  </a:lnTo>
                  <a:lnTo>
                    <a:pt x="751" y="561"/>
                  </a:lnTo>
                  <a:lnTo>
                    <a:pt x="761" y="554"/>
                  </a:lnTo>
                  <a:lnTo>
                    <a:pt x="768" y="548"/>
                  </a:lnTo>
                  <a:lnTo>
                    <a:pt x="771" y="543"/>
                  </a:lnTo>
                  <a:lnTo>
                    <a:pt x="772" y="539"/>
                  </a:lnTo>
                  <a:lnTo>
                    <a:pt x="773" y="536"/>
                  </a:lnTo>
                  <a:lnTo>
                    <a:pt x="773" y="533"/>
                  </a:lnTo>
                  <a:lnTo>
                    <a:pt x="772" y="530"/>
                  </a:lnTo>
                  <a:lnTo>
                    <a:pt x="770" y="526"/>
                  </a:lnTo>
                  <a:lnTo>
                    <a:pt x="767" y="522"/>
                  </a:lnTo>
                  <a:lnTo>
                    <a:pt x="762" y="519"/>
                  </a:lnTo>
                  <a:lnTo>
                    <a:pt x="755" y="516"/>
                  </a:lnTo>
                  <a:lnTo>
                    <a:pt x="745" y="511"/>
                  </a:lnTo>
                  <a:lnTo>
                    <a:pt x="742" y="509"/>
                  </a:lnTo>
                  <a:lnTo>
                    <a:pt x="740" y="509"/>
                  </a:lnTo>
                  <a:lnTo>
                    <a:pt x="733" y="514"/>
                  </a:lnTo>
                  <a:lnTo>
                    <a:pt x="724" y="520"/>
                  </a:lnTo>
                  <a:lnTo>
                    <a:pt x="717" y="523"/>
                  </a:lnTo>
                  <a:lnTo>
                    <a:pt x="713" y="526"/>
                  </a:lnTo>
                  <a:lnTo>
                    <a:pt x="712" y="526"/>
                  </a:lnTo>
                  <a:lnTo>
                    <a:pt x="711" y="521"/>
                  </a:lnTo>
                  <a:lnTo>
                    <a:pt x="708" y="514"/>
                  </a:lnTo>
                  <a:lnTo>
                    <a:pt x="706" y="510"/>
                  </a:lnTo>
                  <a:lnTo>
                    <a:pt x="704" y="507"/>
                  </a:lnTo>
                  <a:lnTo>
                    <a:pt x="702" y="506"/>
                  </a:lnTo>
                  <a:lnTo>
                    <a:pt x="699" y="506"/>
                  </a:lnTo>
                  <a:lnTo>
                    <a:pt x="697" y="506"/>
                  </a:lnTo>
                  <a:lnTo>
                    <a:pt x="694" y="506"/>
                  </a:lnTo>
                  <a:lnTo>
                    <a:pt x="679" y="512"/>
                  </a:lnTo>
                  <a:lnTo>
                    <a:pt x="672" y="515"/>
                  </a:lnTo>
                  <a:lnTo>
                    <a:pt x="667" y="517"/>
                  </a:lnTo>
                  <a:lnTo>
                    <a:pt x="657" y="519"/>
                  </a:lnTo>
                  <a:lnTo>
                    <a:pt x="653" y="521"/>
                  </a:lnTo>
                  <a:lnTo>
                    <a:pt x="649" y="523"/>
                  </a:lnTo>
                  <a:lnTo>
                    <a:pt x="646" y="527"/>
                  </a:lnTo>
                  <a:lnTo>
                    <a:pt x="644" y="530"/>
                  </a:lnTo>
                  <a:lnTo>
                    <a:pt x="644" y="533"/>
                  </a:lnTo>
                  <a:lnTo>
                    <a:pt x="646" y="534"/>
                  </a:lnTo>
                  <a:lnTo>
                    <a:pt x="649" y="535"/>
                  </a:lnTo>
                  <a:lnTo>
                    <a:pt x="651" y="536"/>
                  </a:lnTo>
                  <a:lnTo>
                    <a:pt x="654" y="536"/>
                  </a:lnTo>
                  <a:lnTo>
                    <a:pt x="655" y="538"/>
                  </a:lnTo>
                  <a:lnTo>
                    <a:pt x="655" y="540"/>
                  </a:lnTo>
                  <a:lnTo>
                    <a:pt x="653" y="545"/>
                  </a:lnTo>
                  <a:lnTo>
                    <a:pt x="638" y="562"/>
                  </a:lnTo>
                  <a:lnTo>
                    <a:pt x="632" y="572"/>
                  </a:lnTo>
                  <a:lnTo>
                    <a:pt x="631" y="577"/>
                  </a:lnTo>
                  <a:lnTo>
                    <a:pt x="631" y="583"/>
                  </a:lnTo>
                  <a:lnTo>
                    <a:pt x="630" y="586"/>
                  </a:lnTo>
                  <a:lnTo>
                    <a:pt x="629" y="590"/>
                  </a:lnTo>
                  <a:lnTo>
                    <a:pt x="628" y="593"/>
                  </a:lnTo>
                  <a:lnTo>
                    <a:pt x="625" y="596"/>
                  </a:lnTo>
                  <a:lnTo>
                    <a:pt x="617" y="604"/>
                  </a:lnTo>
                  <a:lnTo>
                    <a:pt x="610" y="614"/>
                  </a:lnTo>
                  <a:lnTo>
                    <a:pt x="607" y="619"/>
                  </a:lnTo>
                  <a:lnTo>
                    <a:pt x="604" y="623"/>
                  </a:lnTo>
                  <a:lnTo>
                    <a:pt x="603" y="626"/>
                  </a:lnTo>
                  <a:lnTo>
                    <a:pt x="602" y="629"/>
                  </a:lnTo>
                  <a:lnTo>
                    <a:pt x="602" y="634"/>
                  </a:lnTo>
                  <a:lnTo>
                    <a:pt x="601" y="639"/>
                  </a:lnTo>
                  <a:lnTo>
                    <a:pt x="602" y="642"/>
                  </a:lnTo>
                  <a:lnTo>
                    <a:pt x="603" y="645"/>
                  </a:lnTo>
                  <a:lnTo>
                    <a:pt x="605" y="647"/>
                  </a:lnTo>
                  <a:lnTo>
                    <a:pt x="608" y="650"/>
                  </a:lnTo>
                  <a:lnTo>
                    <a:pt x="616" y="654"/>
                  </a:lnTo>
                  <a:lnTo>
                    <a:pt x="623" y="658"/>
                  </a:lnTo>
                  <a:lnTo>
                    <a:pt x="626" y="660"/>
                  </a:lnTo>
                  <a:lnTo>
                    <a:pt x="627" y="662"/>
                  </a:lnTo>
                  <a:lnTo>
                    <a:pt x="628" y="664"/>
                  </a:lnTo>
                  <a:lnTo>
                    <a:pt x="628" y="666"/>
                  </a:lnTo>
                  <a:lnTo>
                    <a:pt x="627" y="671"/>
                  </a:lnTo>
                  <a:lnTo>
                    <a:pt x="628" y="676"/>
                  </a:lnTo>
                  <a:lnTo>
                    <a:pt x="628" y="679"/>
                  </a:lnTo>
                  <a:lnTo>
                    <a:pt x="629" y="680"/>
                  </a:lnTo>
                  <a:lnTo>
                    <a:pt x="630" y="681"/>
                  </a:lnTo>
                  <a:lnTo>
                    <a:pt x="632" y="681"/>
                  </a:lnTo>
                  <a:lnTo>
                    <a:pt x="647" y="665"/>
                  </a:lnTo>
                  <a:lnTo>
                    <a:pt x="657" y="651"/>
                  </a:lnTo>
                  <a:lnTo>
                    <a:pt x="659" y="651"/>
                  </a:lnTo>
                  <a:lnTo>
                    <a:pt x="663" y="650"/>
                  </a:lnTo>
                  <a:lnTo>
                    <a:pt x="667" y="650"/>
                  </a:lnTo>
                  <a:lnTo>
                    <a:pt x="669" y="649"/>
                  </a:lnTo>
                  <a:lnTo>
                    <a:pt x="671" y="647"/>
                  </a:lnTo>
                  <a:lnTo>
                    <a:pt x="672" y="645"/>
                  </a:lnTo>
                  <a:lnTo>
                    <a:pt x="678" y="629"/>
                  </a:lnTo>
                  <a:lnTo>
                    <a:pt x="685" y="615"/>
                  </a:lnTo>
                  <a:lnTo>
                    <a:pt x="697" y="603"/>
                  </a:lnTo>
                  <a:lnTo>
                    <a:pt x="705" y="596"/>
                  </a:lnTo>
                  <a:close/>
                  <a:moveTo>
                    <a:pt x="921" y="501"/>
                  </a:moveTo>
                  <a:lnTo>
                    <a:pt x="922" y="505"/>
                  </a:lnTo>
                  <a:lnTo>
                    <a:pt x="924" y="509"/>
                  </a:lnTo>
                  <a:lnTo>
                    <a:pt x="928" y="513"/>
                  </a:lnTo>
                  <a:lnTo>
                    <a:pt x="934" y="517"/>
                  </a:lnTo>
                  <a:lnTo>
                    <a:pt x="940" y="520"/>
                  </a:lnTo>
                  <a:lnTo>
                    <a:pt x="945" y="522"/>
                  </a:lnTo>
                  <a:lnTo>
                    <a:pt x="947" y="523"/>
                  </a:lnTo>
                  <a:lnTo>
                    <a:pt x="949" y="523"/>
                  </a:lnTo>
                  <a:lnTo>
                    <a:pt x="952" y="522"/>
                  </a:lnTo>
                  <a:lnTo>
                    <a:pt x="954" y="520"/>
                  </a:lnTo>
                  <a:lnTo>
                    <a:pt x="958" y="515"/>
                  </a:lnTo>
                  <a:lnTo>
                    <a:pt x="961" y="511"/>
                  </a:lnTo>
                  <a:lnTo>
                    <a:pt x="963" y="509"/>
                  </a:lnTo>
                  <a:lnTo>
                    <a:pt x="963" y="507"/>
                  </a:lnTo>
                  <a:lnTo>
                    <a:pt x="963" y="504"/>
                  </a:lnTo>
                  <a:lnTo>
                    <a:pt x="962" y="499"/>
                  </a:lnTo>
                  <a:lnTo>
                    <a:pt x="959" y="495"/>
                  </a:lnTo>
                  <a:lnTo>
                    <a:pt x="957" y="493"/>
                  </a:lnTo>
                  <a:lnTo>
                    <a:pt x="955" y="491"/>
                  </a:lnTo>
                  <a:lnTo>
                    <a:pt x="952" y="491"/>
                  </a:lnTo>
                  <a:lnTo>
                    <a:pt x="946" y="492"/>
                  </a:lnTo>
                  <a:lnTo>
                    <a:pt x="938" y="495"/>
                  </a:lnTo>
                  <a:lnTo>
                    <a:pt x="925" y="499"/>
                  </a:lnTo>
                  <a:lnTo>
                    <a:pt x="921" y="501"/>
                  </a:lnTo>
                  <a:close/>
                  <a:moveTo>
                    <a:pt x="968" y="715"/>
                  </a:moveTo>
                  <a:lnTo>
                    <a:pt x="962" y="708"/>
                  </a:lnTo>
                  <a:lnTo>
                    <a:pt x="955" y="700"/>
                  </a:lnTo>
                  <a:lnTo>
                    <a:pt x="952" y="696"/>
                  </a:lnTo>
                  <a:lnTo>
                    <a:pt x="949" y="692"/>
                  </a:lnTo>
                  <a:lnTo>
                    <a:pt x="949" y="691"/>
                  </a:lnTo>
                  <a:lnTo>
                    <a:pt x="949" y="689"/>
                  </a:lnTo>
                  <a:lnTo>
                    <a:pt x="950" y="688"/>
                  </a:lnTo>
                  <a:lnTo>
                    <a:pt x="952" y="687"/>
                  </a:lnTo>
                  <a:lnTo>
                    <a:pt x="962" y="683"/>
                  </a:lnTo>
                  <a:lnTo>
                    <a:pt x="976" y="681"/>
                  </a:lnTo>
                  <a:lnTo>
                    <a:pt x="983" y="679"/>
                  </a:lnTo>
                  <a:lnTo>
                    <a:pt x="988" y="678"/>
                  </a:lnTo>
                  <a:lnTo>
                    <a:pt x="990" y="676"/>
                  </a:lnTo>
                  <a:lnTo>
                    <a:pt x="991" y="675"/>
                  </a:lnTo>
                  <a:lnTo>
                    <a:pt x="992" y="673"/>
                  </a:lnTo>
                  <a:lnTo>
                    <a:pt x="992" y="672"/>
                  </a:lnTo>
                  <a:lnTo>
                    <a:pt x="989" y="668"/>
                  </a:lnTo>
                  <a:lnTo>
                    <a:pt x="984" y="661"/>
                  </a:lnTo>
                  <a:lnTo>
                    <a:pt x="976" y="652"/>
                  </a:lnTo>
                  <a:lnTo>
                    <a:pt x="966" y="644"/>
                  </a:lnTo>
                  <a:lnTo>
                    <a:pt x="958" y="635"/>
                  </a:lnTo>
                  <a:lnTo>
                    <a:pt x="949" y="626"/>
                  </a:lnTo>
                  <a:lnTo>
                    <a:pt x="944" y="620"/>
                  </a:lnTo>
                  <a:lnTo>
                    <a:pt x="942" y="615"/>
                  </a:lnTo>
                  <a:lnTo>
                    <a:pt x="940" y="602"/>
                  </a:lnTo>
                  <a:lnTo>
                    <a:pt x="938" y="585"/>
                  </a:lnTo>
                  <a:lnTo>
                    <a:pt x="935" y="570"/>
                  </a:lnTo>
                  <a:lnTo>
                    <a:pt x="933" y="561"/>
                  </a:lnTo>
                  <a:lnTo>
                    <a:pt x="933" y="547"/>
                  </a:lnTo>
                  <a:lnTo>
                    <a:pt x="934" y="534"/>
                  </a:lnTo>
                  <a:lnTo>
                    <a:pt x="928" y="533"/>
                  </a:lnTo>
                  <a:lnTo>
                    <a:pt x="917" y="530"/>
                  </a:lnTo>
                  <a:lnTo>
                    <a:pt x="910" y="529"/>
                  </a:lnTo>
                  <a:lnTo>
                    <a:pt x="904" y="529"/>
                  </a:lnTo>
                  <a:lnTo>
                    <a:pt x="901" y="529"/>
                  </a:lnTo>
                  <a:lnTo>
                    <a:pt x="899" y="530"/>
                  </a:lnTo>
                  <a:lnTo>
                    <a:pt x="898" y="531"/>
                  </a:lnTo>
                  <a:lnTo>
                    <a:pt x="897" y="533"/>
                  </a:lnTo>
                  <a:lnTo>
                    <a:pt x="895" y="541"/>
                  </a:lnTo>
                  <a:lnTo>
                    <a:pt x="892" y="550"/>
                  </a:lnTo>
                  <a:lnTo>
                    <a:pt x="891" y="554"/>
                  </a:lnTo>
                  <a:lnTo>
                    <a:pt x="891" y="558"/>
                  </a:lnTo>
                  <a:lnTo>
                    <a:pt x="892" y="562"/>
                  </a:lnTo>
                  <a:lnTo>
                    <a:pt x="894" y="565"/>
                  </a:lnTo>
                  <a:lnTo>
                    <a:pt x="898" y="572"/>
                  </a:lnTo>
                  <a:lnTo>
                    <a:pt x="902" y="579"/>
                  </a:lnTo>
                  <a:lnTo>
                    <a:pt x="904" y="582"/>
                  </a:lnTo>
                  <a:lnTo>
                    <a:pt x="904" y="585"/>
                  </a:lnTo>
                  <a:lnTo>
                    <a:pt x="904" y="588"/>
                  </a:lnTo>
                  <a:lnTo>
                    <a:pt x="902" y="591"/>
                  </a:lnTo>
                  <a:lnTo>
                    <a:pt x="895" y="596"/>
                  </a:lnTo>
                  <a:lnTo>
                    <a:pt x="883" y="602"/>
                  </a:lnTo>
                  <a:lnTo>
                    <a:pt x="878" y="604"/>
                  </a:lnTo>
                  <a:lnTo>
                    <a:pt x="874" y="605"/>
                  </a:lnTo>
                  <a:lnTo>
                    <a:pt x="872" y="604"/>
                  </a:lnTo>
                  <a:lnTo>
                    <a:pt x="871" y="604"/>
                  </a:lnTo>
                  <a:lnTo>
                    <a:pt x="870" y="603"/>
                  </a:lnTo>
                  <a:lnTo>
                    <a:pt x="869" y="601"/>
                  </a:lnTo>
                  <a:lnTo>
                    <a:pt x="871" y="590"/>
                  </a:lnTo>
                  <a:lnTo>
                    <a:pt x="874" y="574"/>
                  </a:lnTo>
                  <a:lnTo>
                    <a:pt x="875" y="567"/>
                  </a:lnTo>
                  <a:lnTo>
                    <a:pt x="875" y="561"/>
                  </a:lnTo>
                  <a:lnTo>
                    <a:pt x="874" y="559"/>
                  </a:lnTo>
                  <a:lnTo>
                    <a:pt x="873" y="557"/>
                  </a:lnTo>
                  <a:lnTo>
                    <a:pt x="872" y="557"/>
                  </a:lnTo>
                  <a:lnTo>
                    <a:pt x="870" y="557"/>
                  </a:lnTo>
                  <a:lnTo>
                    <a:pt x="865" y="559"/>
                  </a:lnTo>
                  <a:lnTo>
                    <a:pt x="859" y="563"/>
                  </a:lnTo>
                  <a:lnTo>
                    <a:pt x="853" y="570"/>
                  </a:lnTo>
                  <a:lnTo>
                    <a:pt x="847" y="576"/>
                  </a:lnTo>
                  <a:lnTo>
                    <a:pt x="842" y="582"/>
                  </a:lnTo>
                  <a:lnTo>
                    <a:pt x="836" y="586"/>
                  </a:lnTo>
                  <a:lnTo>
                    <a:pt x="834" y="587"/>
                  </a:lnTo>
                  <a:lnTo>
                    <a:pt x="832" y="588"/>
                  </a:lnTo>
                  <a:lnTo>
                    <a:pt x="830" y="588"/>
                  </a:lnTo>
                  <a:lnTo>
                    <a:pt x="828" y="586"/>
                  </a:lnTo>
                  <a:lnTo>
                    <a:pt x="826" y="583"/>
                  </a:lnTo>
                  <a:lnTo>
                    <a:pt x="825" y="578"/>
                  </a:lnTo>
                  <a:lnTo>
                    <a:pt x="825" y="573"/>
                  </a:lnTo>
                  <a:lnTo>
                    <a:pt x="826" y="567"/>
                  </a:lnTo>
                  <a:lnTo>
                    <a:pt x="826" y="562"/>
                  </a:lnTo>
                  <a:lnTo>
                    <a:pt x="826" y="557"/>
                  </a:lnTo>
                  <a:lnTo>
                    <a:pt x="826" y="554"/>
                  </a:lnTo>
                  <a:lnTo>
                    <a:pt x="824" y="552"/>
                  </a:lnTo>
                  <a:lnTo>
                    <a:pt x="822" y="552"/>
                  </a:lnTo>
                  <a:lnTo>
                    <a:pt x="816" y="555"/>
                  </a:lnTo>
                  <a:lnTo>
                    <a:pt x="810" y="560"/>
                  </a:lnTo>
                  <a:lnTo>
                    <a:pt x="804" y="565"/>
                  </a:lnTo>
                  <a:lnTo>
                    <a:pt x="796" y="571"/>
                  </a:lnTo>
                  <a:lnTo>
                    <a:pt x="791" y="575"/>
                  </a:lnTo>
                  <a:lnTo>
                    <a:pt x="789" y="576"/>
                  </a:lnTo>
                  <a:lnTo>
                    <a:pt x="787" y="577"/>
                  </a:lnTo>
                  <a:lnTo>
                    <a:pt x="786" y="577"/>
                  </a:lnTo>
                  <a:lnTo>
                    <a:pt x="785" y="576"/>
                  </a:lnTo>
                  <a:lnTo>
                    <a:pt x="786" y="566"/>
                  </a:lnTo>
                  <a:lnTo>
                    <a:pt x="788" y="556"/>
                  </a:lnTo>
                  <a:lnTo>
                    <a:pt x="789" y="552"/>
                  </a:lnTo>
                  <a:lnTo>
                    <a:pt x="789" y="549"/>
                  </a:lnTo>
                  <a:lnTo>
                    <a:pt x="789" y="547"/>
                  </a:lnTo>
                  <a:lnTo>
                    <a:pt x="789" y="547"/>
                  </a:lnTo>
                  <a:lnTo>
                    <a:pt x="788" y="547"/>
                  </a:lnTo>
                  <a:lnTo>
                    <a:pt x="787" y="547"/>
                  </a:lnTo>
                  <a:lnTo>
                    <a:pt x="773" y="554"/>
                  </a:lnTo>
                  <a:lnTo>
                    <a:pt x="754" y="564"/>
                  </a:lnTo>
                  <a:lnTo>
                    <a:pt x="743" y="571"/>
                  </a:lnTo>
                  <a:lnTo>
                    <a:pt x="735" y="577"/>
                  </a:lnTo>
                  <a:lnTo>
                    <a:pt x="728" y="582"/>
                  </a:lnTo>
                  <a:lnTo>
                    <a:pt x="726" y="586"/>
                  </a:lnTo>
                  <a:lnTo>
                    <a:pt x="723" y="600"/>
                  </a:lnTo>
                  <a:lnTo>
                    <a:pt x="722" y="606"/>
                  </a:lnTo>
                  <a:lnTo>
                    <a:pt x="717" y="608"/>
                  </a:lnTo>
                  <a:lnTo>
                    <a:pt x="707" y="613"/>
                  </a:lnTo>
                  <a:lnTo>
                    <a:pt x="702" y="616"/>
                  </a:lnTo>
                  <a:lnTo>
                    <a:pt x="698" y="619"/>
                  </a:lnTo>
                  <a:lnTo>
                    <a:pt x="696" y="621"/>
                  </a:lnTo>
                  <a:lnTo>
                    <a:pt x="695" y="623"/>
                  </a:lnTo>
                  <a:lnTo>
                    <a:pt x="695" y="624"/>
                  </a:lnTo>
                  <a:lnTo>
                    <a:pt x="695" y="626"/>
                  </a:lnTo>
                  <a:lnTo>
                    <a:pt x="697" y="629"/>
                  </a:lnTo>
                  <a:lnTo>
                    <a:pt x="700" y="634"/>
                  </a:lnTo>
                  <a:lnTo>
                    <a:pt x="704" y="637"/>
                  </a:lnTo>
                  <a:lnTo>
                    <a:pt x="708" y="640"/>
                  </a:lnTo>
                  <a:lnTo>
                    <a:pt x="714" y="642"/>
                  </a:lnTo>
                  <a:lnTo>
                    <a:pt x="719" y="644"/>
                  </a:lnTo>
                  <a:lnTo>
                    <a:pt x="723" y="645"/>
                  </a:lnTo>
                  <a:lnTo>
                    <a:pt x="726" y="645"/>
                  </a:lnTo>
                  <a:lnTo>
                    <a:pt x="735" y="639"/>
                  </a:lnTo>
                  <a:lnTo>
                    <a:pt x="743" y="630"/>
                  </a:lnTo>
                  <a:lnTo>
                    <a:pt x="747" y="626"/>
                  </a:lnTo>
                  <a:lnTo>
                    <a:pt x="750" y="624"/>
                  </a:lnTo>
                  <a:lnTo>
                    <a:pt x="752" y="623"/>
                  </a:lnTo>
                  <a:lnTo>
                    <a:pt x="752" y="623"/>
                  </a:lnTo>
                  <a:lnTo>
                    <a:pt x="754" y="623"/>
                  </a:lnTo>
                  <a:lnTo>
                    <a:pt x="754" y="625"/>
                  </a:lnTo>
                  <a:lnTo>
                    <a:pt x="752" y="628"/>
                  </a:lnTo>
                  <a:lnTo>
                    <a:pt x="750" y="632"/>
                  </a:lnTo>
                  <a:lnTo>
                    <a:pt x="747" y="638"/>
                  </a:lnTo>
                  <a:lnTo>
                    <a:pt x="743" y="642"/>
                  </a:lnTo>
                  <a:lnTo>
                    <a:pt x="735" y="649"/>
                  </a:lnTo>
                  <a:lnTo>
                    <a:pt x="732" y="652"/>
                  </a:lnTo>
                  <a:lnTo>
                    <a:pt x="727" y="651"/>
                  </a:lnTo>
                  <a:lnTo>
                    <a:pt x="719" y="649"/>
                  </a:lnTo>
                  <a:lnTo>
                    <a:pt x="714" y="649"/>
                  </a:lnTo>
                  <a:lnTo>
                    <a:pt x="710" y="650"/>
                  </a:lnTo>
                  <a:lnTo>
                    <a:pt x="707" y="652"/>
                  </a:lnTo>
                  <a:lnTo>
                    <a:pt x="705" y="653"/>
                  </a:lnTo>
                  <a:lnTo>
                    <a:pt x="704" y="657"/>
                  </a:lnTo>
                  <a:lnTo>
                    <a:pt x="703" y="660"/>
                  </a:lnTo>
                  <a:lnTo>
                    <a:pt x="703" y="666"/>
                  </a:lnTo>
                  <a:lnTo>
                    <a:pt x="704" y="671"/>
                  </a:lnTo>
                  <a:lnTo>
                    <a:pt x="706" y="676"/>
                  </a:lnTo>
                  <a:lnTo>
                    <a:pt x="710" y="681"/>
                  </a:lnTo>
                  <a:lnTo>
                    <a:pt x="713" y="683"/>
                  </a:lnTo>
                  <a:lnTo>
                    <a:pt x="717" y="685"/>
                  </a:lnTo>
                  <a:lnTo>
                    <a:pt x="720" y="686"/>
                  </a:lnTo>
                  <a:lnTo>
                    <a:pt x="723" y="685"/>
                  </a:lnTo>
                  <a:lnTo>
                    <a:pt x="734" y="681"/>
                  </a:lnTo>
                  <a:lnTo>
                    <a:pt x="750" y="674"/>
                  </a:lnTo>
                  <a:lnTo>
                    <a:pt x="760" y="670"/>
                  </a:lnTo>
                  <a:lnTo>
                    <a:pt x="769" y="667"/>
                  </a:lnTo>
                  <a:lnTo>
                    <a:pt x="780" y="665"/>
                  </a:lnTo>
                  <a:lnTo>
                    <a:pt x="788" y="665"/>
                  </a:lnTo>
                  <a:lnTo>
                    <a:pt x="802" y="666"/>
                  </a:lnTo>
                  <a:lnTo>
                    <a:pt x="810" y="668"/>
                  </a:lnTo>
                  <a:lnTo>
                    <a:pt x="812" y="669"/>
                  </a:lnTo>
                  <a:lnTo>
                    <a:pt x="812" y="671"/>
                  </a:lnTo>
                  <a:lnTo>
                    <a:pt x="811" y="673"/>
                  </a:lnTo>
                  <a:lnTo>
                    <a:pt x="808" y="676"/>
                  </a:lnTo>
                  <a:lnTo>
                    <a:pt x="805" y="680"/>
                  </a:lnTo>
                  <a:lnTo>
                    <a:pt x="801" y="681"/>
                  </a:lnTo>
                  <a:lnTo>
                    <a:pt x="796" y="681"/>
                  </a:lnTo>
                  <a:lnTo>
                    <a:pt x="791" y="681"/>
                  </a:lnTo>
                  <a:lnTo>
                    <a:pt x="786" y="681"/>
                  </a:lnTo>
                  <a:lnTo>
                    <a:pt x="780" y="681"/>
                  </a:lnTo>
                  <a:lnTo>
                    <a:pt x="772" y="682"/>
                  </a:lnTo>
                  <a:lnTo>
                    <a:pt x="764" y="685"/>
                  </a:lnTo>
                  <a:lnTo>
                    <a:pt x="746" y="690"/>
                  </a:lnTo>
                  <a:lnTo>
                    <a:pt x="727" y="693"/>
                  </a:lnTo>
                  <a:lnTo>
                    <a:pt x="720" y="694"/>
                  </a:lnTo>
                  <a:lnTo>
                    <a:pt x="714" y="696"/>
                  </a:lnTo>
                  <a:lnTo>
                    <a:pt x="711" y="698"/>
                  </a:lnTo>
                  <a:lnTo>
                    <a:pt x="710" y="700"/>
                  </a:lnTo>
                  <a:lnTo>
                    <a:pt x="708" y="702"/>
                  </a:lnTo>
                  <a:lnTo>
                    <a:pt x="708" y="703"/>
                  </a:lnTo>
                  <a:lnTo>
                    <a:pt x="710" y="711"/>
                  </a:lnTo>
                  <a:lnTo>
                    <a:pt x="713" y="719"/>
                  </a:lnTo>
                  <a:lnTo>
                    <a:pt x="715" y="723"/>
                  </a:lnTo>
                  <a:lnTo>
                    <a:pt x="717" y="726"/>
                  </a:lnTo>
                  <a:lnTo>
                    <a:pt x="720" y="728"/>
                  </a:lnTo>
                  <a:lnTo>
                    <a:pt x="723" y="730"/>
                  </a:lnTo>
                  <a:lnTo>
                    <a:pt x="728" y="730"/>
                  </a:lnTo>
                  <a:lnTo>
                    <a:pt x="735" y="730"/>
                  </a:lnTo>
                  <a:lnTo>
                    <a:pt x="743" y="728"/>
                  </a:lnTo>
                  <a:lnTo>
                    <a:pt x="751" y="727"/>
                  </a:lnTo>
                  <a:lnTo>
                    <a:pt x="759" y="725"/>
                  </a:lnTo>
                  <a:lnTo>
                    <a:pt x="765" y="725"/>
                  </a:lnTo>
                  <a:lnTo>
                    <a:pt x="768" y="725"/>
                  </a:lnTo>
                  <a:lnTo>
                    <a:pt x="770" y="726"/>
                  </a:lnTo>
                  <a:lnTo>
                    <a:pt x="771" y="727"/>
                  </a:lnTo>
                  <a:lnTo>
                    <a:pt x="771" y="729"/>
                  </a:lnTo>
                  <a:lnTo>
                    <a:pt x="771" y="749"/>
                  </a:lnTo>
                  <a:lnTo>
                    <a:pt x="771" y="759"/>
                  </a:lnTo>
                  <a:lnTo>
                    <a:pt x="778" y="759"/>
                  </a:lnTo>
                  <a:lnTo>
                    <a:pt x="791" y="757"/>
                  </a:lnTo>
                  <a:lnTo>
                    <a:pt x="808" y="754"/>
                  </a:lnTo>
                  <a:lnTo>
                    <a:pt x="820" y="751"/>
                  </a:lnTo>
                  <a:lnTo>
                    <a:pt x="830" y="747"/>
                  </a:lnTo>
                  <a:lnTo>
                    <a:pt x="843" y="741"/>
                  </a:lnTo>
                  <a:lnTo>
                    <a:pt x="850" y="738"/>
                  </a:lnTo>
                  <a:lnTo>
                    <a:pt x="856" y="735"/>
                  </a:lnTo>
                  <a:lnTo>
                    <a:pt x="862" y="731"/>
                  </a:lnTo>
                  <a:lnTo>
                    <a:pt x="868" y="727"/>
                  </a:lnTo>
                  <a:lnTo>
                    <a:pt x="878" y="717"/>
                  </a:lnTo>
                  <a:lnTo>
                    <a:pt x="886" y="709"/>
                  </a:lnTo>
                  <a:lnTo>
                    <a:pt x="890" y="707"/>
                  </a:lnTo>
                  <a:lnTo>
                    <a:pt x="894" y="707"/>
                  </a:lnTo>
                  <a:lnTo>
                    <a:pt x="899" y="707"/>
                  </a:lnTo>
                  <a:lnTo>
                    <a:pt x="904" y="710"/>
                  </a:lnTo>
                  <a:lnTo>
                    <a:pt x="911" y="714"/>
                  </a:lnTo>
                  <a:lnTo>
                    <a:pt x="918" y="717"/>
                  </a:lnTo>
                  <a:lnTo>
                    <a:pt x="924" y="719"/>
                  </a:lnTo>
                  <a:lnTo>
                    <a:pt x="932" y="722"/>
                  </a:lnTo>
                  <a:lnTo>
                    <a:pt x="944" y="723"/>
                  </a:lnTo>
                  <a:lnTo>
                    <a:pt x="952" y="724"/>
                  </a:lnTo>
                  <a:lnTo>
                    <a:pt x="962" y="719"/>
                  </a:lnTo>
                  <a:lnTo>
                    <a:pt x="968" y="715"/>
                  </a:lnTo>
                  <a:close/>
                  <a:moveTo>
                    <a:pt x="1545" y="2250"/>
                  </a:moveTo>
                  <a:lnTo>
                    <a:pt x="1533" y="2254"/>
                  </a:lnTo>
                  <a:lnTo>
                    <a:pt x="1516" y="2259"/>
                  </a:lnTo>
                  <a:lnTo>
                    <a:pt x="1509" y="2262"/>
                  </a:lnTo>
                  <a:lnTo>
                    <a:pt x="1504" y="2265"/>
                  </a:lnTo>
                  <a:lnTo>
                    <a:pt x="1502" y="2267"/>
                  </a:lnTo>
                  <a:lnTo>
                    <a:pt x="1501" y="2269"/>
                  </a:lnTo>
                  <a:lnTo>
                    <a:pt x="1502" y="2271"/>
                  </a:lnTo>
                  <a:lnTo>
                    <a:pt x="1503" y="2273"/>
                  </a:lnTo>
                  <a:lnTo>
                    <a:pt x="1508" y="2277"/>
                  </a:lnTo>
                  <a:lnTo>
                    <a:pt x="1513" y="2281"/>
                  </a:lnTo>
                  <a:lnTo>
                    <a:pt x="1517" y="2283"/>
                  </a:lnTo>
                  <a:lnTo>
                    <a:pt x="1523" y="2283"/>
                  </a:lnTo>
                  <a:lnTo>
                    <a:pt x="1533" y="2284"/>
                  </a:lnTo>
                  <a:lnTo>
                    <a:pt x="1541" y="2285"/>
                  </a:lnTo>
                  <a:lnTo>
                    <a:pt x="1552" y="2289"/>
                  </a:lnTo>
                  <a:lnTo>
                    <a:pt x="1563" y="2292"/>
                  </a:lnTo>
                  <a:lnTo>
                    <a:pt x="1569" y="2293"/>
                  </a:lnTo>
                  <a:lnTo>
                    <a:pt x="1573" y="2294"/>
                  </a:lnTo>
                  <a:lnTo>
                    <a:pt x="1576" y="2294"/>
                  </a:lnTo>
                  <a:lnTo>
                    <a:pt x="1577" y="2292"/>
                  </a:lnTo>
                  <a:lnTo>
                    <a:pt x="1578" y="2289"/>
                  </a:lnTo>
                  <a:lnTo>
                    <a:pt x="1579" y="2284"/>
                  </a:lnTo>
                  <a:lnTo>
                    <a:pt x="1581" y="2282"/>
                  </a:lnTo>
                  <a:lnTo>
                    <a:pt x="1582" y="2280"/>
                  </a:lnTo>
                  <a:lnTo>
                    <a:pt x="1585" y="2280"/>
                  </a:lnTo>
                  <a:lnTo>
                    <a:pt x="1589" y="2280"/>
                  </a:lnTo>
                  <a:lnTo>
                    <a:pt x="1600" y="2280"/>
                  </a:lnTo>
                  <a:lnTo>
                    <a:pt x="1616" y="2277"/>
                  </a:lnTo>
                  <a:lnTo>
                    <a:pt x="1623" y="2276"/>
                  </a:lnTo>
                  <a:lnTo>
                    <a:pt x="1629" y="2274"/>
                  </a:lnTo>
                  <a:lnTo>
                    <a:pt x="1634" y="2273"/>
                  </a:lnTo>
                  <a:lnTo>
                    <a:pt x="1634" y="2272"/>
                  </a:lnTo>
                  <a:lnTo>
                    <a:pt x="1627" y="2266"/>
                  </a:lnTo>
                  <a:lnTo>
                    <a:pt x="1615" y="2256"/>
                  </a:lnTo>
                  <a:lnTo>
                    <a:pt x="1606" y="2251"/>
                  </a:lnTo>
                  <a:lnTo>
                    <a:pt x="1599" y="2247"/>
                  </a:lnTo>
                  <a:lnTo>
                    <a:pt x="1592" y="2244"/>
                  </a:lnTo>
                  <a:lnTo>
                    <a:pt x="1584" y="2243"/>
                  </a:lnTo>
                  <a:lnTo>
                    <a:pt x="1575" y="2243"/>
                  </a:lnTo>
                  <a:lnTo>
                    <a:pt x="1569" y="2243"/>
                  </a:lnTo>
                  <a:lnTo>
                    <a:pt x="1567" y="2244"/>
                  </a:lnTo>
                  <a:lnTo>
                    <a:pt x="1564" y="2245"/>
                  </a:lnTo>
                  <a:lnTo>
                    <a:pt x="1562" y="2247"/>
                  </a:lnTo>
                  <a:lnTo>
                    <a:pt x="1560" y="2249"/>
                  </a:lnTo>
                  <a:lnTo>
                    <a:pt x="1557" y="2251"/>
                  </a:lnTo>
                  <a:lnTo>
                    <a:pt x="1555" y="2252"/>
                  </a:lnTo>
                  <a:lnTo>
                    <a:pt x="1553" y="2252"/>
                  </a:lnTo>
                  <a:lnTo>
                    <a:pt x="1550" y="2252"/>
                  </a:lnTo>
                  <a:lnTo>
                    <a:pt x="1547" y="2251"/>
                  </a:lnTo>
                  <a:lnTo>
                    <a:pt x="1545" y="2250"/>
                  </a:lnTo>
                  <a:close/>
                  <a:moveTo>
                    <a:pt x="1297" y="2187"/>
                  </a:moveTo>
                  <a:lnTo>
                    <a:pt x="1307" y="2180"/>
                  </a:lnTo>
                  <a:lnTo>
                    <a:pt x="1323" y="2170"/>
                  </a:lnTo>
                  <a:lnTo>
                    <a:pt x="1333" y="2164"/>
                  </a:lnTo>
                  <a:lnTo>
                    <a:pt x="1341" y="2161"/>
                  </a:lnTo>
                  <a:lnTo>
                    <a:pt x="1346" y="2161"/>
                  </a:lnTo>
                  <a:lnTo>
                    <a:pt x="1350" y="2161"/>
                  </a:lnTo>
                  <a:lnTo>
                    <a:pt x="1353" y="2162"/>
                  </a:lnTo>
                  <a:lnTo>
                    <a:pt x="1356" y="2164"/>
                  </a:lnTo>
                  <a:lnTo>
                    <a:pt x="1361" y="2167"/>
                  </a:lnTo>
                  <a:lnTo>
                    <a:pt x="1369" y="2171"/>
                  </a:lnTo>
                  <a:lnTo>
                    <a:pt x="1376" y="2173"/>
                  </a:lnTo>
                  <a:lnTo>
                    <a:pt x="1384" y="2174"/>
                  </a:lnTo>
                  <a:lnTo>
                    <a:pt x="1399" y="2175"/>
                  </a:lnTo>
                  <a:lnTo>
                    <a:pt x="1410" y="2176"/>
                  </a:lnTo>
                  <a:lnTo>
                    <a:pt x="1424" y="2181"/>
                  </a:lnTo>
                  <a:lnTo>
                    <a:pt x="1445" y="2190"/>
                  </a:lnTo>
                  <a:lnTo>
                    <a:pt x="1456" y="2196"/>
                  </a:lnTo>
                  <a:lnTo>
                    <a:pt x="1465" y="2201"/>
                  </a:lnTo>
                  <a:lnTo>
                    <a:pt x="1473" y="2206"/>
                  </a:lnTo>
                  <a:lnTo>
                    <a:pt x="1478" y="2211"/>
                  </a:lnTo>
                  <a:lnTo>
                    <a:pt x="1485" y="2220"/>
                  </a:lnTo>
                  <a:lnTo>
                    <a:pt x="1492" y="2228"/>
                  </a:lnTo>
                  <a:lnTo>
                    <a:pt x="1495" y="2231"/>
                  </a:lnTo>
                  <a:lnTo>
                    <a:pt x="1495" y="2234"/>
                  </a:lnTo>
                  <a:lnTo>
                    <a:pt x="1495" y="2236"/>
                  </a:lnTo>
                  <a:lnTo>
                    <a:pt x="1494" y="2238"/>
                  </a:lnTo>
                  <a:lnTo>
                    <a:pt x="1493" y="2239"/>
                  </a:lnTo>
                  <a:lnTo>
                    <a:pt x="1491" y="2240"/>
                  </a:lnTo>
                  <a:lnTo>
                    <a:pt x="1485" y="2242"/>
                  </a:lnTo>
                  <a:lnTo>
                    <a:pt x="1478" y="2244"/>
                  </a:lnTo>
                  <a:lnTo>
                    <a:pt x="1468" y="2244"/>
                  </a:lnTo>
                  <a:lnTo>
                    <a:pt x="1459" y="2245"/>
                  </a:lnTo>
                  <a:lnTo>
                    <a:pt x="1449" y="2244"/>
                  </a:lnTo>
                  <a:lnTo>
                    <a:pt x="1441" y="2242"/>
                  </a:lnTo>
                  <a:lnTo>
                    <a:pt x="1432" y="2239"/>
                  </a:lnTo>
                  <a:lnTo>
                    <a:pt x="1426" y="2234"/>
                  </a:lnTo>
                  <a:lnTo>
                    <a:pt x="1415" y="2224"/>
                  </a:lnTo>
                  <a:lnTo>
                    <a:pt x="1401" y="2214"/>
                  </a:lnTo>
                  <a:lnTo>
                    <a:pt x="1394" y="2209"/>
                  </a:lnTo>
                  <a:lnTo>
                    <a:pt x="1387" y="2206"/>
                  </a:lnTo>
                  <a:lnTo>
                    <a:pt x="1381" y="2204"/>
                  </a:lnTo>
                  <a:lnTo>
                    <a:pt x="1376" y="2203"/>
                  </a:lnTo>
                  <a:lnTo>
                    <a:pt x="1362" y="2201"/>
                  </a:lnTo>
                  <a:lnTo>
                    <a:pt x="1347" y="2199"/>
                  </a:lnTo>
                  <a:lnTo>
                    <a:pt x="1339" y="2197"/>
                  </a:lnTo>
                  <a:lnTo>
                    <a:pt x="1333" y="2197"/>
                  </a:lnTo>
                  <a:lnTo>
                    <a:pt x="1329" y="2197"/>
                  </a:lnTo>
                  <a:lnTo>
                    <a:pt x="1326" y="2198"/>
                  </a:lnTo>
                  <a:lnTo>
                    <a:pt x="1326" y="2201"/>
                  </a:lnTo>
                  <a:lnTo>
                    <a:pt x="1327" y="2204"/>
                  </a:lnTo>
                  <a:lnTo>
                    <a:pt x="1327" y="2205"/>
                  </a:lnTo>
                  <a:lnTo>
                    <a:pt x="1327" y="2206"/>
                  </a:lnTo>
                  <a:lnTo>
                    <a:pt x="1325" y="2206"/>
                  </a:lnTo>
                  <a:lnTo>
                    <a:pt x="1319" y="2206"/>
                  </a:lnTo>
                  <a:lnTo>
                    <a:pt x="1310" y="2204"/>
                  </a:lnTo>
                  <a:lnTo>
                    <a:pt x="1303" y="2201"/>
                  </a:lnTo>
                  <a:lnTo>
                    <a:pt x="1297" y="2199"/>
                  </a:lnTo>
                  <a:lnTo>
                    <a:pt x="1294" y="2198"/>
                  </a:lnTo>
                  <a:lnTo>
                    <a:pt x="1294" y="2193"/>
                  </a:lnTo>
                  <a:lnTo>
                    <a:pt x="1297" y="2187"/>
                  </a:lnTo>
                  <a:close/>
                  <a:moveTo>
                    <a:pt x="2970" y="1751"/>
                  </a:moveTo>
                  <a:lnTo>
                    <a:pt x="2962" y="1758"/>
                  </a:lnTo>
                  <a:lnTo>
                    <a:pt x="2954" y="1768"/>
                  </a:lnTo>
                  <a:lnTo>
                    <a:pt x="2954" y="1771"/>
                  </a:lnTo>
                  <a:lnTo>
                    <a:pt x="2955" y="1776"/>
                  </a:lnTo>
                  <a:lnTo>
                    <a:pt x="2956" y="1777"/>
                  </a:lnTo>
                  <a:lnTo>
                    <a:pt x="2956" y="1779"/>
                  </a:lnTo>
                  <a:lnTo>
                    <a:pt x="2957" y="1779"/>
                  </a:lnTo>
                  <a:lnTo>
                    <a:pt x="2958" y="1779"/>
                  </a:lnTo>
                  <a:lnTo>
                    <a:pt x="2963" y="1770"/>
                  </a:lnTo>
                  <a:lnTo>
                    <a:pt x="2967" y="1763"/>
                  </a:lnTo>
                  <a:lnTo>
                    <a:pt x="2970" y="1762"/>
                  </a:lnTo>
                  <a:lnTo>
                    <a:pt x="2972" y="1761"/>
                  </a:lnTo>
                  <a:lnTo>
                    <a:pt x="2975" y="1761"/>
                  </a:lnTo>
                  <a:lnTo>
                    <a:pt x="2979" y="1762"/>
                  </a:lnTo>
                  <a:lnTo>
                    <a:pt x="2981" y="1763"/>
                  </a:lnTo>
                  <a:lnTo>
                    <a:pt x="2982" y="1763"/>
                  </a:lnTo>
                  <a:lnTo>
                    <a:pt x="2984" y="1762"/>
                  </a:lnTo>
                  <a:lnTo>
                    <a:pt x="2985" y="1761"/>
                  </a:lnTo>
                  <a:lnTo>
                    <a:pt x="2987" y="1757"/>
                  </a:lnTo>
                  <a:lnTo>
                    <a:pt x="2989" y="1754"/>
                  </a:lnTo>
                  <a:lnTo>
                    <a:pt x="2994" y="1751"/>
                  </a:lnTo>
                  <a:lnTo>
                    <a:pt x="2998" y="1749"/>
                  </a:lnTo>
                  <a:lnTo>
                    <a:pt x="2999" y="1748"/>
                  </a:lnTo>
                  <a:lnTo>
                    <a:pt x="3000" y="1746"/>
                  </a:lnTo>
                  <a:lnTo>
                    <a:pt x="3000" y="1744"/>
                  </a:lnTo>
                  <a:lnTo>
                    <a:pt x="2998" y="1740"/>
                  </a:lnTo>
                  <a:lnTo>
                    <a:pt x="2993" y="1734"/>
                  </a:lnTo>
                  <a:lnTo>
                    <a:pt x="2988" y="1731"/>
                  </a:lnTo>
                  <a:lnTo>
                    <a:pt x="2986" y="1731"/>
                  </a:lnTo>
                  <a:lnTo>
                    <a:pt x="2984" y="1731"/>
                  </a:lnTo>
                  <a:lnTo>
                    <a:pt x="2983" y="1732"/>
                  </a:lnTo>
                  <a:lnTo>
                    <a:pt x="2982" y="1733"/>
                  </a:lnTo>
                  <a:lnTo>
                    <a:pt x="2976" y="1745"/>
                  </a:lnTo>
                  <a:lnTo>
                    <a:pt x="2973" y="1751"/>
                  </a:lnTo>
                  <a:lnTo>
                    <a:pt x="2971" y="1751"/>
                  </a:lnTo>
                  <a:lnTo>
                    <a:pt x="2970" y="1751"/>
                  </a:lnTo>
                  <a:close/>
                  <a:moveTo>
                    <a:pt x="3055" y="1671"/>
                  </a:moveTo>
                  <a:lnTo>
                    <a:pt x="3052" y="1678"/>
                  </a:lnTo>
                  <a:lnTo>
                    <a:pt x="3051" y="1684"/>
                  </a:lnTo>
                  <a:lnTo>
                    <a:pt x="3051" y="1691"/>
                  </a:lnTo>
                  <a:lnTo>
                    <a:pt x="3053" y="1696"/>
                  </a:lnTo>
                  <a:lnTo>
                    <a:pt x="3055" y="1702"/>
                  </a:lnTo>
                  <a:lnTo>
                    <a:pt x="3056" y="1707"/>
                  </a:lnTo>
                  <a:lnTo>
                    <a:pt x="3055" y="1713"/>
                  </a:lnTo>
                  <a:lnTo>
                    <a:pt x="3053" y="1716"/>
                  </a:lnTo>
                  <a:lnTo>
                    <a:pt x="3050" y="1718"/>
                  </a:lnTo>
                  <a:lnTo>
                    <a:pt x="3045" y="1719"/>
                  </a:lnTo>
                  <a:lnTo>
                    <a:pt x="3043" y="1720"/>
                  </a:lnTo>
                  <a:lnTo>
                    <a:pt x="3042" y="1721"/>
                  </a:lnTo>
                  <a:lnTo>
                    <a:pt x="3042" y="1723"/>
                  </a:lnTo>
                  <a:lnTo>
                    <a:pt x="3042" y="1725"/>
                  </a:lnTo>
                  <a:lnTo>
                    <a:pt x="3045" y="1732"/>
                  </a:lnTo>
                  <a:lnTo>
                    <a:pt x="3048" y="1737"/>
                  </a:lnTo>
                  <a:lnTo>
                    <a:pt x="3049" y="1740"/>
                  </a:lnTo>
                  <a:lnTo>
                    <a:pt x="3050" y="1742"/>
                  </a:lnTo>
                  <a:lnTo>
                    <a:pt x="3050" y="1745"/>
                  </a:lnTo>
                  <a:lnTo>
                    <a:pt x="3050" y="1748"/>
                  </a:lnTo>
                  <a:lnTo>
                    <a:pt x="3049" y="1756"/>
                  </a:lnTo>
                  <a:lnTo>
                    <a:pt x="3050" y="1762"/>
                  </a:lnTo>
                  <a:lnTo>
                    <a:pt x="3051" y="1767"/>
                  </a:lnTo>
                  <a:lnTo>
                    <a:pt x="3052" y="1769"/>
                  </a:lnTo>
                  <a:lnTo>
                    <a:pt x="3054" y="1771"/>
                  </a:lnTo>
                  <a:lnTo>
                    <a:pt x="3061" y="1773"/>
                  </a:lnTo>
                  <a:lnTo>
                    <a:pt x="3063" y="1773"/>
                  </a:lnTo>
                  <a:lnTo>
                    <a:pt x="3066" y="1772"/>
                  </a:lnTo>
                  <a:lnTo>
                    <a:pt x="3067" y="1769"/>
                  </a:lnTo>
                  <a:lnTo>
                    <a:pt x="3068" y="1764"/>
                  </a:lnTo>
                  <a:lnTo>
                    <a:pt x="3068" y="1751"/>
                  </a:lnTo>
                  <a:lnTo>
                    <a:pt x="3068" y="1739"/>
                  </a:lnTo>
                  <a:lnTo>
                    <a:pt x="3069" y="1729"/>
                  </a:lnTo>
                  <a:lnTo>
                    <a:pt x="3068" y="1724"/>
                  </a:lnTo>
                  <a:lnTo>
                    <a:pt x="3066" y="1722"/>
                  </a:lnTo>
                  <a:lnTo>
                    <a:pt x="3065" y="1718"/>
                  </a:lnTo>
                  <a:lnTo>
                    <a:pt x="3064" y="1713"/>
                  </a:lnTo>
                  <a:lnTo>
                    <a:pt x="3065" y="1704"/>
                  </a:lnTo>
                  <a:lnTo>
                    <a:pt x="3066" y="1694"/>
                  </a:lnTo>
                  <a:lnTo>
                    <a:pt x="3067" y="1685"/>
                  </a:lnTo>
                  <a:lnTo>
                    <a:pt x="3066" y="1679"/>
                  </a:lnTo>
                  <a:lnTo>
                    <a:pt x="3064" y="1675"/>
                  </a:lnTo>
                  <a:lnTo>
                    <a:pt x="3062" y="1672"/>
                  </a:lnTo>
                  <a:lnTo>
                    <a:pt x="3059" y="1671"/>
                  </a:lnTo>
                  <a:lnTo>
                    <a:pt x="3056" y="1671"/>
                  </a:lnTo>
                  <a:lnTo>
                    <a:pt x="3055" y="1671"/>
                  </a:lnTo>
                  <a:close/>
                  <a:moveTo>
                    <a:pt x="2133" y="1095"/>
                  </a:moveTo>
                  <a:lnTo>
                    <a:pt x="2137" y="1078"/>
                  </a:lnTo>
                  <a:lnTo>
                    <a:pt x="2143" y="1040"/>
                  </a:lnTo>
                  <a:lnTo>
                    <a:pt x="2148" y="1019"/>
                  </a:lnTo>
                  <a:lnTo>
                    <a:pt x="2152" y="999"/>
                  </a:lnTo>
                  <a:lnTo>
                    <a:pt x="2155" y="990"/>
                  </a:lnTo>
                  <a:lnTo>
                    <a:pt x="2158" y="982"/>
                  </a:lnTo>
                  <a:lnTo>
                    <a:pt x="2161" y="976"/>
                  </a:lnTo>
                  <a:lnTo>
                    <a:pt x="2164" y="972"/>
                  </a:lnTo>
                  <a:lnTo>
                    <a:pt x="2175" y="959"/>
                  </a:lnTo>
                  <a:lnTo>
                    <a:pt x="2188" y="946"/>
                  </a:lnTo>
                  <a:lnTo>
                    <a:pt x="2193" y="938"/>
                  </a:lnTo>
                  <a:lnTo>
                    <a:pt x="2197" y="932"/>
                  </a:lnTo>
                  <a:lnTo>
                    <a:pt x="2198" y="928"/>
                  </a:lnTo>
                  <a:lnTo>
                    <a:pt x="2199" y="925"/>
                  </a:lnTo>
                  <a:lnTo>
                    <a:pt x="2199" y="922"/>
                  </a:lnTo>
                  <a:lnTo>
                    <a:pt x="2199" y="918"/>
                  </a:lnTo>
                  <a:lnTo>
                    <a:pt x="2198" y="911"/>
                  </a:lnTo>
                  <a:lnTo>
                    <a:pt x="2198" y="903"/>
                  </a:lnTo>
                  <a:lnTo>
                    <a:pt x="2199" y="893"/>
                  </a:lnTo>
                  <a:lnTo>
                    <a:pt x="2202" y="885"/>
                  </a:lnTo>
                  <a:lnTo>
                    <a:pt x="2204" y="877"/>
                  </a:lnTo>
                  <a:lnTo>
                    <a:pt x="2208" y="870"/>
                  </a:lnTo>
                  <a:lnTo>
                    <a:pt x="2209" y="868"/>
                  </a:lnTo>
                  <a:lnTo>
                    <a:pt x="2211" y="866"/>
                  </a:lnTo>
                  <a:lnTo>
                    <a:pt x="2213" y="864"/>
                  </a:lnTo>
                  <a:lnTo>
                    <a:pt x="2215" y="864"/>
                  </a:lnTo>
                  <a:lnTo>
                    <a:pt x="2219" y="862"/>
                  </a:lnTo>
                  <a:lnTo>
                    <a:pt x="2226" y="857"/>
                  </a:lnTo>
                  <a:lnTo>
                    <a:pt x="2232" y="850"/>
                  </a:lnTo>
                  <a:lnTo>
                    <a:pt x="2239" y="843"/>
                  </a:lnTo>
                  <a:lnTo>
                    <a:pt x="2247" y="837"/>
                  </a:lnTo>
                  <a:lnTo>
                    <a:pt x="2254" y="834"/>
                  </a:lnTo>
                  <a:lnTo>
                    <a:pt x="2257" y="833"/>
                  </a:lnTo>
                  <a:lnTo>
                    <a:pt x="2260" y="833"/>
                  </a:lnTo>
                  <a:lnTo>
                    <a:pt x="2262" y="834"/>
                  </a:lnTo>
                  <a:lnTo>
                    <a:pt x="2265" y="836"/>
                  </a:lnTo>
                  <a:lnTo>
                    <a:pt x="2269" y="840"/>
                  </a:lnTo>
                  <a:lnTo>
                    <a:pt x="2271" y="842"/>
                  </a:lnTo>
                  <a:lnTo>
                    <a:pt x="2273" y="841"/>
                  </a:lnTo>
                  <a:lnTo>
                    <a:pt x="2275" y="839"/>
                  </a:lnTo>
                  <a:lnTo>
                    <a:pt x="2276" y="836"/>
                  </a:lnTo>
                  <a:lnTo>
                    <a:pt x="2278" y="832"/>
                  </a:lnTo>
                  <a:lnTo>
                    <a:pt x="2280" y="828"/>
                  </a:lnTo>
                  <a:lnTo>
                    <a:pt x="2283" y="825"/>
                  </a:lnTo>
                  <a:lnTo>
                    <a:pt x="2288" y="821"/>
                  </a:lnTo>
                  <a:lnTo>
                    <a:pt x="2297" y="814"/>
                  </a:lnTo>
                  <a:lnTo>
                    <a:pt x="2307" y="804"/>
                  </a:lnTo>
                  <a:lnTo>
                    <a:pt x="2317" y="793"/>
                  </a:lnTo>
                  <a:lnTo>
                    <a:pt x="2326" y="781"/>
                  </a:lnTo>
                  <a:lnTo>
                    <a:pt x="2334" y="770"/>
                  </a:lnTo>
                  <a:lnTo>
                    <a:pt x="2336" y="766"/>
                  </a:lnTo>
                  <a:lnTo>
                    <a:pt x="2338" y="760"/>
                  </a:lnTo>
                  <a:lnTo>
                    <a:pt x="2338" y="757"/>
                  </a:lnTo>
                  <a:lnTo>
                    <a:pt x="2337" y="754"/>
                  </a:lnTo>
                  <a:lnTo>
                    <a:pt x="2330" y="745"/>
                  </a:lnTo>
                  <a:lnTo>
                    <a:pt x="2327" y="735"/>
                  </a:lnTo>
                  <a:lnTo>
                    <a:pt x="2325" y="729"/>
                  </a:lnTo>
                  <a:lnTo>
                    <a:pt x="2325" y="727"/>
                  </a:lnTo>
                  <a:lnTo>
                    <a:pt x="2328" y="731"/>
                  </a:lnTo>
                  <a:lnTo>
                    <a:pt x="2338" y="741"/>
                  </a:lnTo>
                  <a:lnTo>
                    <a:pt x="2343" y="747"/>
                  </a:lnTo>
                  <a:lnTo>
                    <a:pt x="2349" y="751"/>
                  </a:lnTo>
                  <a:lnTo>
                    <a:pt x="2352" y="752"/>
                  </a:lnTo>
                  <a:lnTo>
                    <a:pt x="2357" y="753"/>
                  </a:lnTo>
                  <a:lnTo>
                    <a:pt x="2360" y="754"/>
                  </a:lnTo>
                  <a:lnTo>
                    <a:pt x="2363" y="754"/>
                  </a:lnTo>
                  <a:lnTo>
                    <a:pt x="2374" y="750"/>
                  </a:lnTo>
                  <a:lnTo>
                    <a:pt x="2391" y="742"/>
                  </a:lnTo>
                  <a:lnTo>
                    <a:pt x="2412" y="731"/>
                  </a:lnTo>
                  <a:lnTo>
                    <a:pt x="2435" y="718"/>
                  </a:lnTo>
                  <a:lnTo>
                    <a:pt x="2475" y="696"/>
                  </a:lnTo>
                  <a:lnTo>
                    <a:pt x="2493" y="686"/>
                  </a:lnTo>
                  <a:lnTo>
                    <a:pt x="2485" y="682"/>
                  </a:lnTo>
                  <a:lnTo>
                    <a:pt x="2470" y="673"/>
                  </a:lnTo>
                  <a:lnTo>
                    <a:pt x="2459" y="669"/>
                  </a:lnTo>
                  <a:lnTo>
                    <a:pt x="2450" y="665"/>
                  </a:lnTo>
                  <a:lnTo>
                    <a:pt x="2445" y="664"/>
                  </a:lnTo>
                  <a:lnTo>
                    <a:pt x="2440" y="663"/>
                  </a:lnTo>
                  <a:lnTo>
                    <a:pt x="2436" y="663"/>
                  </a:lnTo>
                  <a:lnTo>
                    <a:pt x="2432" y="664"/>
                  </a:lnTo>
                  <a:lnTo>
                    <a:pt x="2426" y="665"/>
                  </a:lnTo>
                  <a:lnTo>
                    <a:pt x="2420" y="664"/>
                  </a:lnTo>
                  <a:lnTo>
                    <a:pt x="2416" y="661"/>
                  </a:lnTo>
                  <a:lnTo>
                    <a:pt x="2413" y="658"/>
                  </a:lnTo>
                  <a:lnTo>
                    <a:pt x="2411" y="654"/>
                  </a:lnTo>
                  <a:lnTo>
                    <a:pt x="2410" y="651"/>
                  </a:lnTo>
                  <a:lnTo>
                    <a:pt x="2411" y="648"/>
                  </a:lnTo>
                  <a:lnTo>
                    <a:pt x="2413" y="646"/>
                  </a:lnTo>
                  <a:lnTo>
                    <a:pt x="2420" y="642"/>
                  </a:lnTo>
                  <a:lnTo>
                    <a:pt x="2430" y="640"/>
                  </a:lnTo>
                  <a:lnTo>
                    <a:pt x="2434" y="638"/>
                  </a:lnTo>
                  <a:lnTo>
                    <a:pt x="2437" y="636"/>
                  </a:lnTo>
                  <a:lnTo>
                    <a:pt x="2437" y="635"/>
                  </a:lnTo>
                  <a:lnTo>
                    <a:pt x="2437" y="634"/>
                  </a:lnTo>
                  <a:lnTo>
                    <a:pt x="2436" y="632"/>
                  </a:lnTo>
                  <a:lnTo>
                    <a:pt x="2435" y="631"/>
                  </a:lnTo>
                  <a:lnTo>
                    <a:pt x="2432" y="628"/>
                  </a:lnTo>
                  <a:lnTo>
                    <a:pt x="2430" y="625"/>
                  </a:lnTo>
                  <a:lnTo>
                    <a:pt x="2428" y="621"/>
                  </a:lnTo>
                  <a:lnTo>
                    <a:pt x="2427" y="618"/>
                  </a:lnTo>
                  <a:lnTo>
                    <a:pt x="2427" y="615"/>
                  </a:lnTo>
                  <a:lnTo>
                    <a:pt x="2428" y="613"/>
                  </a:lnTo>
                  <a:lnTo>
                    <a:pt x="2430" y="612"/>
                  </a:lnTo>
                  <a:lnTo>
                    <a:pt x="2434" y="613"/>
                  </a:lnTo>
                  <a:lnTo>
                    <a:pt x="2438" y="616"/>
                  </a:lnTo>
                  <a:lnTo>
                    <a:pt x="2444" y="621"/>
                  </a:lnTo>
                  <a:lnTo>
                    <a:pt x="2448" y="627"/>
                  </a:lnTo>
                  <a:lnTo>
                    <a:pt x="2453" y="635"/>
                  </a:lnTo>
                  <a:lnTo>
                    <a:pt x="2459" y="646"/>
                  </a:lnTo>
                  <a:lnTo>
                    <a:pt x="2462" y="651"/>
                  </a:lnTo>
                  <a:lnTo>
                    <a:pt x="2464" y="654"/>
                  </a:lnTo>
                  <a:lnTo>
                    <a:pt x="2471" y="663"/>
                  </a:lnTo>
                  <a:lnTo>
                    <a:pt x="2475" y="666"/>
                  </a:lnTo>
                  <a:lnTo>
                    <a:pt x="2479" y="669"/>
                  </a:lnTo>
                  <a:lnTo>
                    <a:pt x="2482" y="670"/>
                  </a:lnTo>
                  <a:lnTo>
                    <a:pt x="2487" y="670"/>
                  </a:lnTo>
                  <a:lnTo>
                    <a:pt x="2491" y="668"/>
                  </a:lnTo>
                  <a:lnTo>
                    <a:pt x="2495" y="665"/>
                  </a:lnTo>
                  <a:lnTo>
                    <a:pt x="2500" y="661"/>
                  </a:lnTo>
                  <a:lnTo>
                    <a:pt x="2504" y="656"/>
                  </a:lnTo>
                  <a:lnTo>
                    <a:pt x="2507" y="650"/>
                  </a:lnTo>
                  <a:lnTo>
                    <a:pt x="2509" y="645"/>
                  </a:lnTo>
                  <a:lnTo>
                    <a:pt x="2510" y="643"/>
                  </a:lnTo>
                  <a:lnTo>
                    <a:pt x="2509" y="640"/>
                  </a:lnTo>
                  <a:lnTo>
                    <a:pt x="2507" y="637"/>
                  </a:lnTo>
                  <a:lnTo>
                    <a:pt x="2506" y="635"/>
                  </a:lnTo>
                  <a:lnTo>
                    <a:pt x="2496" y="621"/>
                  </a:lnTo>
                  <a:lnTo>
                    <a:pt x="2483" y="605"/>
                  </a:lnTo>
                  <a:lnTo>
                    <a:pt x="2471" y="591"/>
                  </a:lnTo>
                  <a:lnTo>
                    <a:pt x="2460" y="579"/>
                  </a:lnTo>
                  <a:lnTo>
                    <a:pt x="2449" y="569"/>
                  </a:lnTo>
                  <a:lnTo>
                    <a:pt x="2434" y="556"/>
                  </a:lnTo>
                  <a:lnTo>
                    <a:pt x="2422" y="545"/>
                  </a:lnTo>
                  <a:lnTo>
                    <a:pt x="2416" y="541"/>
                  </a:lnTo>
                  <a:lnTo>
                    <a:pt x="2420" y="541"/>
                  </a:lnTo>
                  <a:lnTo>
                    <a:pt x="2432" y="541"/>
                  </a:lnTo>
                  <a:lnTo>
                    <a:pt x="2438" y="541"/>
                  </a:lnTo>
                  <a:lnTo>
                    <a:pt x="2445" y="542"/>
                  </a:lnTo>
                  <a:lnTo>
                    <a:pt x="2449" y="543"/>
                  </a:lnTo>
                  <a:lnTo>
                    <a:pt x="2452" y="547"/>
                  </a:lnTo>
                  <a:lnTo>
                    <a:pt x="2454" y="548"/>
                  </a:lnTo>
                  <a:lnTo>
                    <a:pt x="2456" y="548"/>
                  </a:lnTo>
                  <a:lnTo>
                    <a:pt x="2457" y="547"/>
                  </a:lnTo>
                  <a:lnTo>
                    <a:pt x="2458" y="544"/>
                  </a:lnTo>
                  <a:lnTo>
                    <a:pt x="2459" y="538"/>
                  </a:lnTo>
                  <a:lnTo>
                    <a:pt x="2459" y="536"/>
                  </a:lnTo>
                  <a:lnTo>
                    <a:pt x="2459" y="533"/>
                  </a:lnTo>
                  <a:lnTo>
                    <a:pt x="2458" y="526"/>
                  </a:lnTo>
                  <a:lnTo>
                    <a:pt x="2459" y="522"/>
                  </a:lnTo>
                  <a:lnTo>
                    <a:pt x="2460" y="520"/>
                  </a:lnTo>
                  <a:lnTo>
                    <a:pt x="2462" y="520"/>
                  </a:lnTo>
                  <a:lnTo>
                    <a:pt x="2464" y="522"/>
                  </a:lnTo>
                  <a:lnTo>
                    <a:pt x="2469" y="527"/>
                  </a:lnTo>
                  <a:lnTo>
                    <a:pt x="2474" y="529"/>
                  </a:lnTo>
                  <a:lnTo>
                    <a:pt x="2479" y="530"/>
                  </a:lnTo>
                  <a:lnTo>
                    <a:pt x="2484" y="531"/>
                  </a:lnTo>
                  <a:lnTo>
                    <a:pt x="2493" y="531"/>
                  </a:lnTo>
                  <a:lnTo>
                    <a:pt x="2497" y="531"/>
                  </a:lnTo>
                  <a:lnTo>
                    <a:pt x="2492" y="520"/>
                  </a:lnTo>
                  <a:lnTo>
                    <a:pt x="2487" y="510"/>
                  </a:lnTo>
                  <a:lnTo>
                    <a:pt x="2480" y="506"/>
                  </a:lnTo>
                  <a:lnTo>
                    <a:pt x="2469" y="497"/>
                  </a:lnTo>
                  <a:lnTo>
                    <a:pt x="2463" y="493"/>
                  </a:lnTo>
                  <a:lnTo>
                    <a:pt x="2459" y="489"/>
                  </a:lnTo>
                  <a:lnTo>
                    <a:pt x="2458" y="488"/>
                  </a:lnTo>
                  <a:lnTo>
                    <a:pt x="2458" y="486"/>
                  </a:lnTo>
                  <a:lnTo>
                    <a:pt x="2458" y="485"/>
                  </a:lnTo>
                  <a:lnTo>
                    <a:pt x="2459" y="484"/>
                  </a:lnTo>
                  <a:lnTo>
                    <a:pt x="2469" y="482"/>
                  </a:lnTo>
                  <a:lnTo>
                    <a:pt x="2480" y="479"/>
                  </a:lnTo>
                  <a:lnTo>
                    <a:pt x="2492" y="478"/>
                  </a:lnTo>
                  <a:lnTo>
                    <a:pt x="2497" y="478"/>
                  </a:lnTo>
                  <a:lnTo>
                    <a:pt x="2497" y="476"/>
                  </a:lnTo>
                  <a:lnTo>
                    <a:pt x="2492" y="470"/>
                  </a:lnTo>
                  <a:lnTo>
                    <a:pt x="2483" y="462"/>
                  </a:lnTo>
                  <a:lnTo>
                    <a:pt x="2475" y="453"/>
                  </a:lnTo>
                  <a:lnTo>
                    <a:pt x="2464" y="444"/>
                  </a:lnTo>
                  <a:lnTo>
                    <a:pt x="2455" y="432"/>
                  </a:lnTo>
                  <a:lnTo>
                    <a:pt x="2451" y="427"/>
                  </a:lnTo>
                  <a:lnTo>
                    <a:pt x="2449" y="423"/>
                  </a:lnTo>
                  <a:lnTo>
                    <a:pt x="2448" y="422"/>
                  </a:lnTo>
                  <a:lnTo>
                    <a:pt x="2448" y="421"/>
                  </a:lnTo>
                  <a:lnTo>
                    <a:pt x="2448" y="421"/>
                  </a:lnTo>
                  <a:lnTo>
                    <a:pt x="2449" y="421"/>
                  </a:lnTo>
                  <a:lnTo>
                    <a:pt x="2458" y="427"/>
                  </a:lnTo>
                  <a:lnTo>
                    <a:pt x="2472" y="435"/>
                  </a:lnTo>
                  <a:lnTo>
                    <a:pt x="2479" y="440"/>
                  </a:lnTo>
                  <a:lnTo>
                    <a:pt x="2484" y="442"/>
                  </a:lnTo>
                  <a:lnTo>
                    <a:pt x="2487" y="443"/>
                  </a:lnTo>
                  <a:lnTo>
                    <a:pt x="2489" y="443"/>
                  </a:lnTo>
                  <a:lnTo>
                    <a:pt x="2490" y="443"/>
                  </a:lnTo>
                  <a:lnTo>
                    <a:pt x="2490" y="442"/>
                  </a:lnTo>
                  <a:lnTo>
                    <a:pt x="2482" y="431"/>
                  </a:lnTo>
                  <a:lnTo>
                    <a:pt x="2469" y="413"/>
                  </a:lnTo>
                  <a:lnTo>
                    <a:pt x="2454" y="398"/>
                  </a:lnTo>
                  <a:lnTo>
                    <a:pt x="2447" y="389"/>
                  </a:lnTo>
                  <a:lnTo>
                    <a:pt x="2440" y="387"/>
                  </a:lnTo>
                  <a:lnTo>
                    <a:pt x="2433" y="383"/>
                  </a:lnTo>
                  <a:lnTo>
                    <a:pt x="2430" y="380"/>
                  </a:lnTo>
                  <a:lnTo>
                    <a:pt x="2427" y="378"/>
                  </a:lnTo>
                  <a:lnTo>
                    <a:pt x="2426" y="375"/>
                  </a:lnTo>
                  <a:lnTo>
                    <a:pt x="2427" y="371"/>
                  </a:lnTo>
                  <a:lnTo>
                    <a:pt x="2429" y="367"/>
                  </a:lnTo>
                  <a:lnTo>
                    <a:pt x="2432" y="364"/>
                  </a:lnTo>
                  <a:lnTo>
                    <a:pt x="2435" y="361"/>
                  </a:lnTo>
                  <a:lnTo>
                    <a:pt x="2438" y="359"/>
                  </a:lnTo>
                  <a:lnTo>
                    <a:pt x="2442" y="357"/>
                  </a:lnTo>
                  <a:lnTo>
                    <a:pt x="2447" y="357"/>
                  </a:lnTo>
                  <a:lnTo>
                    <a:pt x="2450" y="357"/>
                  </a:lnTo>
                  <a:lnTo>
                    <a:pt x="2454" y="359"/>
                  </a:lnTo>
                  <a:lnTo>
                    <a:pt x="2473" y="375"/>
                  </a:lnTo>
                  <a:lnTo>
                    <a:pt x="2482" y="381"/>
                  </a:lnTo>
                  <a:lnTo>
                    <a:pt x="2481" y="375"/>
                  </a:lnTo>
                  <a:lnTo>
                    <a:pt x="2478" y="362"/>
                  </a:lnTo>
                  <a:lnTo>
                    <a:pt x="2474" y="350"/>
                  </a:lnTo>
                  <a:lnTo>
                    <a:pt x="2472" y="344"/>
                  </a:lnTo>
                  <a:lnTo>
                    <a:pt x="2467" y="343"/>
                  </a:lnTo>
                  <a:lnTo>
                    <a:pt x="2460" y="343"/>
                  </a:lnTo>
                  <a:lnTo>
                    <a:pt x="2455" y="342"/>
                  </a:lnTo>
                  <a:lnTo>
                    <a:pt x="2448" y="340"/>
                  </a:lnTo>
                  <a:lnTo>
                    <a:pt x="2444" y="339"/>
                  </a:lnTo>
                  <a:lnTo>
                    <a:pt x="2440" y="337"/>
                  </a:lnTo>
                  <a:lnTo>
                    <a:pt x="2438" y="335"/>
                  </a:lnTo>
                  <a:lnTo>
                    <a:pt x="2438" y="334"/>
                  </a:lnTo>
                  <a:lnTo>
                    <a:pt x="2440" y="330"/>
                  </a:lnTo>
                  <a:lnTo>
                    <a:pt x="2444" y="325"/>
                  </a:lnTo>
                  <a:lnTo>
                    <a:pt x="2446" y="322"/>
                  </a:lnTo>
                  <a:lnTo>
                    <a:pt x="2446" y="319"/>
                  </a:lnTo>
                  <a:lnTo>
                    <a:pt x="2438" y="318"/>
                  </a:lnTo>
                  <a:lnTo>
                    <a:pt x="2428" y="319"/>
                  </a:lnTo>
                  <a:lnTo>
                    <a:pt x="2424" y="319"/>
                  </a:lnTo>
                  <a:lnTo>
                    <a:pt x="2419" y="317"/>
                  </a:lnTo>
                  <a:lnTo>
                    <a:pt x="2417" y="316"/>
                  </a:lnTo>
                  <a:lnTo>
                    <a:pt x="2415" y="315"/>
                  </a:lnTo>
                  <a:lnTo>
                    <a:pt x="2413" y="313"/>
                  </a:lnTo>
                  <a:lnTo>
                    <a:pt x="2412" y="311"/>
                  </a:lnTo>
                  <a:lnTo>
                    <a:pt x="2411" y="306"/>
                  </a:lnTo>
                  <a:lnTo>
                    <a:pt x="2410" y="301"/>
                  </a:lnTo>
                  <a:lnTo>
                    <a:pt x="2410" y="300"/>
                  </a:lnTo>
                  <a:lnTo>
                    <a:pt x="2410" y="299"/>
                  </a:lnTo>
                  <a:lnTo>
                    <a:pt x="2411" y="297"/>
                  </a:lnTo>
                  <a:lnTo>
                    <a:pt x="2413" y="297"/>
                  </a:lnTo>
                  <a:lnTo>
                    <a:pt x="2417" y="296"/>
                  </a:lnTo>
                  <a:lnTo>
                    <a:pt x="2422" y="296"/>
                  </a:lnTo>
                  <a:lnTo>
                    <a:pt x="2423" y="295"/>
                  </a:lnTo>
                  <a:lnTo>
                    <a:pt x="2423" y="293"/>
                  </a:lnTo>
                  <a:lnTo>
                    <a:pt x="2422" y="291"/>
                  </a:lnTo>
                  <a:lnTo>
                    <a:pt x="2418" y="287"/>
                  </a:lnTo>
                  <a:lnTo>
                    <a:pt x="2411" y="278"/>
                  </a:lnTo>
                  <a:lnTo>
                    <a:pt x="2406" y="272"/>
                  </a:lnTo>
                  <a:lnTo>
                    <a:pt x="2405" y="270"/>
                  </a:lnTo>
                  <a:lnTo>
                    <a:pt x="2404" y="268"/>
                  </a:lnTo>
                  <a:lnTo>
                    <a:pt x="2403" y="267"/>
                  </a:lnTo>
                  <a:lnTo>
                    <a:pt x="2404" y="266"/>
                  </a:lnTo>
                  <a:lnTo>
                    <a:pt x="2416" y="262"/>
                  </a:lnTo>
                  <a:lnTo>
                    <a:pt x="2426" y="258"/>
                  </a:lnTo>
                  <a:lnTo>
                    <a:pt x="2417" y="246"/>
                  </a:lnTo>
                  <a:lnTo>
                    <a:pt x="2410" y="235"/>
                  </a:lnTo>
                  <a:lnTo>
                    <a:pt x="2417" y="232"/>
                  </a:lnTo>
                  <a:lnTo>
                    <a:pt x="2424" y="228"/>
                  </a:lnTo>
                  <a:lnTo>
                    <a:pt x="2416" y="224"/>
                  </a:lnTo>
                  <a:lnTo>
                    <a:pt x="2410" y="221"/>
                  </a:lnTo>
                  <a:lnTo>
                    <a:pt x="2411" y="222"/>
                  </a:lnTo>
                  <a:lnTo>
                    <a:pt x="2412" y="225"/>
                  </a:lnTo>
                  <a:lnTo>
                    <a:pt x="2412" y="226"/>
                  </a:lnTo>
                  <a:lnTo>
                    <a:pt x="2411" y="226"/>
                  </a:lnTo>
                  <a:lnTo>
                    <a:pt x="2409" y="226"/>
                  </a:lnTo>
                  <a:lnTo>
                    <a:pt x="2406" y="225"/>
                  </a:lnTo>
                  <a:lnTo>
                    <a:pt x="2400" y="223"/>
                  </a:lnTo>
                  <a:lnTo>
                    <a:pt x="2395" y="222"/>
                  </a:lnTo>
                  <a:lnTo>
                    <a:pt x="2393" y="220"/>
                  </a:lnTo>
                  <a:lnTo>
                    <a:pt x="2392" y="217"/>
                  </a:lnTo>
                  <a:lnTo>
                    <a:pt x="2392" y="213"/>
                  </a:lnTo>
                  <a:lnTo>
                    <a:pt x="2392" y="211"/>
                  </a:lnTo>
                  <a:lnTo>
                    <a:pt x="2394" y="209"/>
                  </a:lnTo>
                  <a:lnTo>
                    <a:pt x="2396" y="207"/>
                  </a:lnTo>
                  <a:lnTo>
                    <a:pt x="2403" y="210"/>
                  </a:lnTo>
                  <a:lnTo>
                    <a:pt x="2412" y="217"/>
                  </a:lnTo>
                  <a:lnTo>
                    <a:pt x="2417" y="220"/>
                  </a:lnTo>
                  <a:lnTo>
                    <a:pt x="2423" y="222"/>
                  </a:lnTo>
                  <a:lnTo>
                    <a:pt x="2426" y="223"/>
                  </a:lnTo>
                  <a:lnTo>
                    <a:pt x="2429" y="222"/>
                  </a:lnTo>
                  <a:lnTo>
                    <a:pt x="2433" y="219"/>
                  </a:lnTo>
                  <a:lnTo>
                    <a:pt x="2436" y="218"/>
                  </a:lnTo>
                  <a:lnTo>
                    <a:pt x="2436" y="217"/>
                  </a:lnTo>
                  <a:lnTo>
                    <a:pt x="2436" y="215"/>
                  </a:lnTo>
                  <a:lnTo>
                    <a:pt x="2435" y="214"/>
                  </a:lnTo>
                  <a:lnTo>
                    <a:pt x="2433" y="213"/>
                  </a:lnTo>
                  <a:lnTo>
                    <a:pt x="2429" y="210"/>
                  </a:lnTo>
                  <a:lnTo>
                    <a:pt x="2425" y="207"/>
                  </a:lnTo>
                  <a:lnTo>
                    <a:pt x="2418" y="205"/>
                  </a:lnTo>
                  <a:lnTo>
                    <a:pt x="2409" y="202"/>
                  </a:lnTo>
                  <a:lnTo>
                    <a:pt x="2397" y="198"/>
                  </a:lnTo>
                  <a:lnTo>
                    <a:pt x="2389" y="193"/>
                  </a:lnTo>
                  <a:lnTo>
                    <a:pt x="2386" y="192"/>
                  </a:lnTo>
                  <a:lnTo>
                    <a:pt x="2384" y="191"/>
                  </a:lnTo>
                  <a:lnTo>
                    <a:pt x="2382" y="191"/>
                  </a:lnTo>
                  <a:lnTo>
                    <a:pt x="2380" y="191"/>
                  </a:lnTo>
                  <a:lnTo>
                    <a:pt x="2374" y="192"/>
                  </a:lnTo>
                  <a:lnTo>
                    <a:pt x="2369" y="191"/>
                  </a:lnTo>
                  <a:lnTo>
                    <a:pt x="2366" y="190"/>
                  </a:lnTo>
                  <a:lnTo>
                    <a:pt x="2366" y="189"/>
                  </a:lnTo>
                  <a:lnTo>
                    <a:pt x="2368" y="188"/>
                  </a:lnTo>
                  <a:lnTo>
                    <a:pt x="2371" y="186"/>
                  </a:lnTo>
                  <a:lnTo>
                    <a:pt x="2374" y="186"/>
                  </a:lnTo>
                  <a:lnTo>
                    <a:pt x="2379" y="187"/>
                  </a:lnTo>
                  <a:lnTo>
                    <a:pt x="2384" y="189"/>
                  </a:lnTo>
                  <a:lnTo>
                    <a:pt x="2390" y="192"/>
                  </a:lnTo>
                  <a:lnTo>
                    <a:pt x="2397" y="196"/>
                  </a:lnTo>
                  <a:lnTo>
                    <a:pt x="2404" y="196"/>
                  </a:lnTo>
                  <a:lnTo>
                    <a:pt x="2410" y="197"/>
                  </a:lnTo>
                  <a:lnTo>
                    <a:pt x="2418" y="199"/>
                  </a:lnTo>
                  <a:lnTo>
                    <a:pt x="2425" y="202"/>
                  </a:lnTo>
                  <a:lnTo>
                    <a:pt x="2427" y="203"/>
                  </a:lnTo>
                  <a:lnTo>
                    <a:pt x="2428" y="203"/>
                  </a:lnTo>
                  <a:lnTo>
                    <a:pt x="2431" y="204"/>
                  </a:lnTo>
                  <a:lnTo>
                    <a:pt x="2434" y="204"/>
                  </a:lnTo>
                  <a:lnTo>
                    <a:pt x="2437" y="202"/>
                  </a:lnTo>
                  <a:lnTo>
                    <a:pt x="2442" y="200"/>
                  </a:lnTo>
                  <a:lnTo>
                    <a:pt x="2449" y="199"/>
                  </a:lnTo>
                  <a:lnTo>
                    <a:pt x="2452" y="199"/>
                  </a:lnTo>
                  <a:lnTo>
                    <a:pt x="2454" y="198"/>
                  </a:lnTo>
                  <a:lnTo>
                    <a:pt x="2454" y="197"/>
                  </a:lnTo>
                  <a:lnTo>
                    <a:pt x="2452" y="196"/>
                  </a:lnTo>
                  <a:lnTo>
                    <a:pt x="2440" y="188"/>
                  </a:lnTo>
                  <a:lnTo>
                    <a:pt x="2422" y="177"/>
                  </a:lnTo>
                  <a:lnTo>
                    <a:pt x="2401" y="165"/>
                  </a:lnTo>
                  <a:lnTo>
                    <a:pt x="2384" y="159"/>
                  </a:lnTo>
                  <a:lnTo>
                    <a:pt x="2380" y="158"/>
                  </a:lnTo>
                  <a:lnTo>
                    <a:pt x="2379" y="159"/>
                  </a:lnTo>
                  <a:lnTo>
                    <a:pt x="2378" y="160"/>
                  </a:lnTo>
                  <a:lnTo>
                    <a:pt x="2379" y="162"/>
                  </a:lnTo>
                  <a:lnTo>
                    <a:pt x="2380" y="163"/>
                  </a:lnTo>
                  <a:lnTo>
                    <a:pt x="2380" y="164"/>
                  </a:lnTo>
                  <a:lnTo>
                    <a:pt x="2378" y="164"/>
                  </a:lnTo>
                  <a:lnTo>
                    <a:pt x="2373" y="161"/>
                  </a:lnTo>
                  <a:lnTo>
                    <a:pt x="2361" y="155"/>
                  </a:lnTo>
                  <a:lnTo>
                    <a:pt x="2360" y="155"/>
                  </a:lnTo>
                  <a:lnTo>
                    <a:pt x="2363" y="157"/>
                  </a:lnTo>
                  <a:lnTo>
                    <a:pt x="2371" y="161"/>
                  </a:lnTo>
                  <a:lnTo>
                    <a:pt x="2376" y="164"/>
                  </a:lnTo>
                  <a:lnTo>
                    <a:pt x="2376" y="164"/>
                  </a:lnTo>
                  <a:lnTo>
                    <a:pt x="2368" y="163"/>
                  </a:lnTo>
                  <a:lnTo>
                    <a:pt x="2358" y="159"/>
                  </a:lnTo>
                  <a:lnTo>
                    <a:pt x="2351" y="154"/>
                  </a:lnTo>
                  <a:lnTo>
                    <a:pt x="2346" y="150"/>
                  </a:lnTo>
                  <a:lnTo>
                    <a:pt x="2345" y="149"/>
                  </a:lnTo>
                  <a:lnTo>
                    <a:pt x="2343" y="148"/>
                  </a:lnTo>
                  <a:lnTo>
                    <a:pt x="2342" y="148"/>
                  </a:lnTo>
                  <a:lnTo>
                    <a:pt x="2342" y="149"/>
                  </a:lnTo>
                  <a:lnTo>
                    <a:pt x="2334" y="153"/>
                  </a:lnTo>
                  <a:lnTo>
                    <a:pt x="2329" y="156"/>
                  </a:lnTo>
                  <a:lnTo>
                    <a:pt x="2330" y="164"/>
                  </a:lnTo>
                  <a:lnTo>
                    <a:pt x="2330" y="170"/>
                  </a:lnTo>
                  <a:lnTo>
                    <a:pt x="2324" y="171"/>
                  </a:lnTo>
                  <a:lnTo>
                    <a:pt x="2316" y="170"/>
                  </a:lnTo>
                  <a:lnTo>
                    <a:pt x="2313" y="169"/>
                  </a:lnTo>
                  <a:lnTo>
                    <a:pt x="2310" y="167"/>
                  </a:lnTo>
                  <a:lnTo>
                    <a:pt x="2309" y="167"/>
                  </a:lnTo>
                  <a:lnTo>
                    <a:pt x="2309" y="166"/>
                  </a:lnTo>
                  <a:lnTo>
                    <a:pt x="2309" y="165"/>
                  </a:lnTo>
                  <a:lnTo>
                    <a:pt x="2310" y="165"/>
                  </a:lnTo>
                  <a:lnTo>
                    <a:pt x="2315" y="163"/>
                  </a:lnTo>
                  <a:lnTo>
                    <a:pt x="2318" y="161"/>
                  </a:lnTo>
                  <a:lnTo>
                    <a:pt x="2320" y="159"/>
                  </a:lnTo>
                  <a:lnTo>
                    <a:pt x="2320" y="156"/>
                  </a:lnTo>
                  <a:lnTo>
                    <a:pt x="2321" y="149"/>
                  </a:lnTo>
                  <a:lnTo>
                    <a:pt x="2320" y="143"/>
                  </a:lnTo>
                  <a:lnTo>
                    <a:pt x="2316" y="138"/>
                  </a:lnTo>
                  <a:lnTo>
                    <a:pt x="2309" y="132"/>
                  </a:lnTo>
                  <a:lnTo>
                    <a:pt x="2302" y="126"/>
                  </a:lnTo>
                  <a:lnTo>
                    <a:pt x="2297" y="124"/>
                  </a:lnTo>
                  <a:lnTo>
                    <a:pt x="2290" y="123"/>
                  </a:lnTo>
                  <a:lnTo>
                    <a:pt x="2283" y="122"/>
                  </a:lnTo>
                  <a:lnTo>
                    <a:pt x="2281" y="122"/>
                  </a:lnTo>
                  <a:lnTo>
                    <a:pt x="2279" y="122"/>
                  </a:lnTo>
                  <a:lnTo>
                    <a:pt x="2278" y="122"/>
                  </a:lnTo>
                  <a:lnTo>
                    <a:pt x="2278" y="123"/>
                  </a:lnTo>
                  <a:lnTo>
                    <a:pt x="2279" y="125"/>
                  </a:lnTo>
                  <a:lnTo>
                    <a:pt x="2278" y="126"/>
                  </a:lnTo>
                  <a:lnTo>
                    <a:pt x="2277" y="126"/>
                  </a:lnTo>
                  <a:lnTo>
                    <a:pt x="2275" y="127"/>
                  </a:lnTo>
                  <a:lnTo>
                    <a:pt x="2271" y="128"/>
                  </a:lnTo>
                  <a:lnTo>
                    <a:pt x="2265" y="128"/>
                  </a:lnTo>
                  <a:lnTo>
                    <a:pt x="2251" y="126"/>
                  </a:lnTo>
                  <a:lnTo>
                    <a:pt x="2241" y="125"/>
                  </a:lnTo>
                  <a:lnTo>
                    <a:pt x="2252" y="124"/>
                  </a:lnTo>
                  <a:lnTo>
                    <a:pt x="2263" y="124"/>
                  </a:lnTo>
                  <a:lnTo>
                    <a:pt x="2264" y="123"/>
                  </a:lnTo>
                  <a:lnTo>
                    <a:pt x="2266" y="123"/>
                  </a:lnTo>
                  <a:lnTo>
                    <a:pt x="2266" y="121"/>
                  </a:lnTo>
                  <a:lnTo>
                    <a:pt x="2265" y="120"/>
                  </a:lnTo>
                  <a:lnTo>
                    <a:pt x="2257" y="115"/>
                  </a:lnTo>
                  <a:lnTo>
                    <a:pt x="2247" y="111"/>
                  </a:lnTo>
                  <a:lnTo>
                    <a:pt x="2240" y="109"/>
                  </a:lnTo>
                  <a:lnTo>
                    <a:pt x="2230" y="106"/>
                  </a:lnTo>
                  <a:lnTo>
                    <a:pt x="2218" y="103"/>
                  </a:lnTo>
                  <a:lnTo>
                    <a:pt x="2207" y="101"/>
                  </a:lnTo>
                  <a:lnTo>
                    <a:pt x="2191" y="101"/>
                  </a:lnTo>
                  <a:lnTo>
                    <a:pt x="2176" y="100"/>
                  </a:lnTo>
                  <a:lnTo>
                    <a:pt x="2166" y="99"/>
                  </a:lnTo>
                  <a:lnTo>
                    <a:pt x="2158" y="98"/>
                  </a:lnTo>
                  <a:lnTo>
                    <a:pt x="2154" y="97"/>
                  </a:lnTo>
                  <a:lnTo>
                    <a:pt x="2152" y="96"/>
                  </a:lnTo>
                  <a:lnTo>
                    <a:pt x="2151" y="95"/>
                  </a:lnTo>
                  <a:lnTo>
                    <a:pt x="2152" y="94"/>
                  </a:lnTo>
                  <a:lnTo>
                    <a:pt x="2158" y="93"/>
                  </a:lnTo>
                  <a:lnTo>
                    <a:pt x="2164" y="92"/>
                  </a:lnTo>
                  <a:lnTo>
                    <a:pt x="2170" y="92"/>
                  </a:lnTo>
                  <a:lnTo>
                    <a:pt x="2177" y="93"/>
                  </a:lnTo>
                  <a:lnTo>
                    <a:pt x="2185" y="93"/>
                  </a:lnTo>
                  <a:lnTo>
                    <a:pt x="2195" y="95"/>
                  </a:lnTo>
                  <a:lnTo>
                    <a:pt x="2207" y="97"/>
                  </a:lnTo>
                  <a:lnTo>
                    <a:pt x="2218" y="99"/>
                  </a:lnTo>
                  <a:lnTo>
                    <a:pt x="2228" y="103"/>
                  </a:lnTo>
                  <a:lnTo>
                    <a:pt x="2238" y="106"/>
                  </a:lnTo>
                  <a:lnTo>
                    <a:pt x="2246" y="109"/>
                  </a:lnTo>
                  <a:lnTo>
                    <a:pt x="2251" y="110"/>
                  </a:lnTo>
                  <a:lnTo>
                    <a:pt x="2262" y="112"/>
                  </a:lnTo>
                  <a:lnTo>
                    <a:pt x="2280" y="115"/>
                  </a:lnTo>
                  <a:lnTo>
                    <a:pt x="2292" y="118"/>
                  </a:lnTo>
                  <a:lnTo>
                    <a:pt x="2296" y="118"/>
                  </a:lnTo>
                  <a:lnTo>
                    <a:pt x="2296" y="117"/>
                  </a:lnTo>
                  <a:lnTo>
                    <a:pt x="2288" y="113"/>
                  </a:lnTo>
                  <a:lnTo>
                    <a:pt x="2277" y="108"/>
                  </a:lnTo>
                  <a:lnTo>
                    <a:pt x="2262" y="102"/>
                  </a:lnTo>
                  <a:lnTo>
                    <a:pt x="2250" y="97"/>
                  </a:lnTo>
                  <a:lnTo>
                    <a:pt x="2243" y="95"/>
                  </a:lnTo>
                  <a:lnTo>
                    <a:pt x="2239" y="94"/>
                  </a:lnTo>
                  <a:lnTo>
                    <a:pt x="2233" y="92"/>
                  </a:lnTo>
                  <a:lnTo>
                    <a:pt x="2234" y="92"/>
                  </a:lnTo>
                  <a:lnTo>
                    <a:pt x="2233" y="90"/>
                  </a:lnTo>
                  <a:lnTo>
                    <a:pt x="2228" y="87"/>
                  </a:lnTo>
                  <a:lnTo>
                    <a:pt x="2218" y="83"/>
                  </a:lnTo>
                  <a:lnTo>
                    <a:pt x="2208" y="81"/>
                  </a:lnTo>
                  <a:lnTo>
                    <a:pt x="2193" y="77"/>
                  </a:lnTo>
                  <a:lnTo>
                    <a:pt x="2183" y="74"/>
                  </a:lnTo>
                  <a:lnTo>
                    <a:pt x="2172" y="70"/>
                  </a:lnTo>
                  <a:lnTo>
                    <a:pt x="2162" y="67"/>
                  </a:lnTo>
                  <a:lnTo>
                    <a:pt x="2153" y="65"/>
                  </a:lnTo>
                  <a:lnTo>
                    <a:pt x="2141" y="62"/>
                  </a:lnTo>
                  <a:lnTo>
                    <a:pt x="2125" y="59"/>
                  </a:lnTo>
                  <a:lnTo>
                    <a:pt x="2116" y="57"/>
                  </a:lnTo>
                  <a:lnTo>
                    <a:pt x="2104" y="55"/>
                  </a:lnTo>
                  <a:lnTo>
                    <a:pt x="2095" y="53"/>
                  </a:lnTo>
                  <a:lnTo>
                    <a:pt x="2093" y="52"/>
                  </a:lnTo>
                  <a:lnTo>
                    <a:pt x="2104" y="54"/>
                  </a:lnTo>
                  <a:lnTo>
                    <a:pt x="2124" y="57"/>
                  </a:lnTo>
                  <a:lnTo>
                    <a:pt x="2133" y="58"/>
                  </a:lnTo>
                  <a:lnTo>
                    <a:pt x="2142" y="60"/>
                  </a:lnTo>
                  <a:lnTo>
                    <a:pt x="2150" y="62"/>
                  </a:lnTo>
                  <a:lnTo>
                    <a:pt x="2155" y="64"/>
                  </a:lnTo>
                  <a:lnTo>
                    <a:pt x="2167" y="68"/>
                  </a:lnTo>
                  <a:lnTo>
                    <a:pt x="2183" y="72"/>
                  </a:lnTo>
                  <a:lnTo>
                    <a:pt x="2196" y="76"/>
                  </a:lnTo>
                  <a:lnTo>
                    <a:pt x="2204" y="78"/>
                  </a:lnTo>
                  <a:lnTo>
                    <a:pt x="2209" y="80"/>
                  </a:lnTo>
                  <a:lnTo>
                    <a:pt x="2214" y="81"/>
                  </a:lnTo>
                  <a:lnTo>
                    <a:pt x="2207" y="79"/>
                  </a:lnTo>
                  <a:lnTo>
                    <a:pt x="2193" y="74"/>
                  </a:lnTo>
                  <a:lnTo>
                    <a:pt x="2178" y="69"/>
                  </a:lnTo>
                  <a:lnTo>
                    <a:pt x="2166" y="66"/>
                  </a:lnTo>
                  <a:lnTo>
                    <a:pt x="2156" y="62"/>
                  </a:lnTo>
                  <a:lnTo>
                    <a:pt x="2144" y="58"/>
                  </a:lnTo>
                  <a:lnTo>
                    <a:pt x="2132" y="55"/>
                  </a:lnTo>
                  <a:lnTo>
                    <a:pt x="2122" y="52"/>
                  </a:lnTo>
                  <a:lnTo>
                    <a:pt x="2110" y="49"/>
                  </a:lnTo>
                  <a:lnTo>
                    <a:pt x="2096" y="45"/>
                  </a:lnTo>
                  <a:lnTo>
                    <a:pt x="2081" y="40"/>
                  </a:lnTo>
                  <a:lnTo>
                    <a:pt x="2068" y="37"/>
                  </a:lnTo>
                  <a:lnTo>
                    <a:pt x="2065" y="37"/>
                  </a:lnTo>
                  <a:lnTo>
                    <a:pt x="2064" y="37"/>
                  </a:lnTo>
                  <a:lnTo>
                    <a:pt x="2064" y="37"/>
                  </a:lnTo>
                  <a:lnTo>
                    <a:pt x="2066" y="38"/>
                  </a:lnTo>
                  <a:lnTo>
                    <a:pt x="2072" y="39"/>
                  </a:lnTo>
                  <a:lnTo>
                    <a:pt x="2072" y="40"/>
                  </a:lnTo>
                  <a:lnTo>
                    <a:pt x="2059" y="37"/>
                  </a:lnTo>
                  <a:lnTo>
                    <a:pt x="2052" y="35"/>
                  </a:lnTo>
                  <a:lnTo>
                    <a:pt x="2053" y="35"/>
                  </a:lnTo>
                  <a:lnTo>
                    <a:pt x="2055" y="36"/>
                  </a:lnTo>
                  <a:lnTo>
                    <a:pt x="2056" y="37"/>
                  </a:lnTo>
                  <a:lnTo>
                    <a:pt x="2051" y="36"/>
                  </a:lnTo>
                  <a:lnTo>
                    <a:pt x="2041" y="33"/>
                  </a:lnTo>
                  <a:lnTo>
                    <a:pt x="2039" y="33"/>
                  </a:lnTo>
                  <a:lnTo>
                    <a:pt x="2040" y="34"/>
                  </a:lnTo>
                  <a:lnTo>
                    <a:pt x="2045" y="36"/>
                  </a:lnTo>
                  <a:lnTo>
                    <a:pt x="2052" y="38"/>
                  </a:lnTo>
                  <a:lnTo>
                    <a:pt x="2059" y="39"/>
                  </a:lnTo>
                  <a:lnTo>
                    <a:pt x="2061" y="40"/>
                  </a:lnTo>
                  <a:lnTo>
                    <a:pt x="2063" y="42"/>
                  </a:lnTo>
                  <a:lnTo>
                    <a:pt x="2062" y="42"/>
                  </a:lnTo>
                  <a:lnTo>
                    <a:pt x="2060" y="42"/>
                  </a:lnTo>
                  <a:lnTo>
                    <a:pt x="2052" y="39"/>
                  </a:lnTo>
                  <a:lnTo>
                    <a:pt x="2042" y="37"/>
                  </a:lnTo>
                  <a:lnTo>
                    <a:pt x="2037" y="36"/>
                  </a:lnTo>
                  <a:lnTo>
                    <a:pt x="2038" y="37"/>
                  </a:lnTo>
                  <a:lnTo>
                    <a:pt x="2049" y="40"/>
                  </a:lnTo>
                  <a:lnTo>
                    <a:pt x="2050" y="42"/>
                  </a:lnTo>
                  <a:lnTo>
                    <a:pt x="2043" y="40"/>
                  </a:lnTo>
                  <a:lnTo>
                    <a:pt x="2043" y="40"/>
                  </a:lnTo>
                  <a:lnTo>
                    <a:pt x="2047" y="43"/>
                  </a:lnTo>
                  <a:lnTo>
                    <a:pt x="2053" y="45"/>
                  </a:lnTo>
                  <a:lnTo>
                    <a:pt x="2055" y="46"/>
                  </a:lnTo>
                  <a:lnTo>
                    <a:pt x="2056" y="46"/>
                  </a:lnTo>
                  <a:lnTo>
                    <a:pt x="2056" y="46"/>
                  </a:lnTo>
                  <a:lnTo>
                    <a:pt x="2053" y="46"/>
                  </a:lnTo>
                  <a:lnTo>
                    <a:pt x="2041" y="43"/>
                  </a:lnTo>
                  <a:lnTo>
                    <a:pt x="2029" y="38"/>
                  </a:lnTo>
                  <a:lnTo>
                    <a:pt x="2015" y="34"/>
                  </a:lnTo>
                  <a:lnTo>
                    <a:pt x="2005" y="31"/>
                  </a:lnTo>
                  <a:lnTo>
                    <a:pt x="1990" y="26"/>
                  </a:lnTo>
                  <a:lnTo>
                    <a:pt x="1981" y="24"/>
                  </a:lnTo>
                  <a:lnTo>
                    <a:pt x="1988" y="27"/>
                  </a:lnTo>
                  <a:lnTo>
                    <a:pt x="1990" y="28"/>
                  </a:lnTo>
                  <a:lnTo>
                    <a:pt x="1975" y="26"/>
                  </a:lnTo>
                  <a:lnTo>
                    <a:pt x="1968" y="25"/>
                  </a:lnTo>
                  <a:lnTo>
                    <a:pt x="1967" y="26"/>
                  </a:lnTo>
                  <a:lnTo>
                    <a:pt x="1967" y="27"/>
                  </a:lnTo>
                  <a:lnTo>
                    <a:pt x="1969" y="28"/>
                  </a:lnTo>
                  <a:lnTo>
                    <a:pt x="1975" y="30"/>
                  </a:lnTo>
                  <a:lnTo>
                    <a:pt x="1986" y="31"/>
                  </a:lnTo>
                  <a:lnTo>
                    <a:pt x="1996" y="33"/>
                  </a:lnTo>
                  <a:lnTo>
                    <a:pt x="2008" y="36"/>
                  </a:lnTo>
                  <a:lnTo>
                    <a:pt x="2018" y="39"/>
                  </a:lnTo>
                  <a:lnTo>
                    <a:pt x="2036" y="48"/>
                  </a:lnTo>
                  <a:lnTo>
                    <a:pt x="2042" y="51"/>
                  </a:lnTo>
                  <a:lnTo>
                    <a:pt x="2042" y="51"/>
                  </a:lnTo>
                  <a:lnTo>
                    <a:pt x="2042" y="52"/>
                  </a:lnTo>
                  <a:lnTo>
                    <a:pt x="2039" y="52"/>
                  </a:lnTo>
                  <a:lnTo>
                    <a:pt x="2032" y="49"/>
                  </a:lnTo>
                  <a:lnTo>
                    <a:pt x="2024" y="46"/>
                  </a:lnTo>
                  <a:lnTo>
                    <a:pt x="2018" y="43"/>
                  </a:lnTo>
                  <a:lnTo>
                    <a:pt x="2011" y="39"/>
                  </a:lnTo>
                  <a:lnTo>
                    <a:pt x="2000" y="36"/>
                  </a:lnTo>
                  <a:lnTo>
                    <a:pt x="1983" y="33"/>
                  </a:lnTo>
                  <a:lnTo>
                    <a:pt x="1961" y="29"/>
                  </a:lnTo>
                  <a:lnTo>
                    <a:pt x="1951" y="27"/>
                  </a:lnTo>
                  <a:lnTo>
                    <a:pt x="1946" y="27"/>
                  </a:lnTo>
                  <a:lnTo>
                    <a:pt x="1945" y="27"/>
                  </a:lnTo>
                  <a:lnTo>
                    <a:pt x="1945" y="27"/>
                  </a:lnTo>
                  <a:lnTo>
                    <a:pt x="1946" y="28"/>
                  </a:lnTo>
                  <a:lnTo>
                    <a:pt x="1949" y="29"/>
                  </a:lnTo>
                  <a:lnTo>
                    <a:pt x="1964" y="34"/>
                  </a:lnTo>
                  <a:lnTo>
                    <a:pt x="1974" y="37"/>
                  </a:lnTo>
                  <a:lnTo>
                    <a:pt x="1983" y="40"/>
                  </a:lnTo>
                  <a:lnTo>
                    <a:pt x="1988" y="44"/>
                  </a:lnTo>
                  <a:lnTo>
                    <a:pt x="1997" y="47"/>
                  </a:lnTo>
                  <a:lnTo>
                    <a:pt x="2011" y="51"/>
                  </a:lnTo>
                  <a:lnTo>
                    <a:pt x="2016" y="53"/>
                  </a:lnTo>
                  <a:lnTo>
                    <a:pt x="2019" y="54"/>
                  </a:lnTo>
                  <a:lnTo>
                    <a:pt x="2018" y="54"/>
                  </a:lnTo>
                  <a:lnTo>
                    <a:pt x="2012" y="53"/>
                  </a:lnTo>
                  <a:lnTo>
                    <a:pt x="1996" y="50"/>
                  </a:lnTo>
                  <a:lnTo>
                    <a:pt x="1986" y="47"/>
                  </a:lnTo>
                  <a:lnTo>
                    <a:pt x="1981" y="46"/>
                  </a:lnTo>
                  <a:lnTo>
                    <a:pt x="1979" y="45"/>
                  </a:lnTo>
                  <a:lnTo>
                    <a:pt x="1978" y="45"/>
                  </a:lnTo>
                  <a:lnTo>
                    <a:pt x="1977" y="46"/>
                  </a:lnTo>
                  <a:lnTo>
                    <a:pt x="1976" y="51"/>
                  </a:lnTo>
                  <a:lnTo>
                    <a:pt x="1977" y="54"/>
                  </a:lnTo>
                  <a:lnTo>
                    <a:pt x="1983" y="56"/>
                  </a:lnTo>
                  <a:lnTo>
                    <a:pt x="1990" y="58"/>
                  </a:lnTo>
                  <a:lnTo>
                    <a:pt x="1993" y="59"/>
                  </a:lnTo>
                  <a:lnTo>
                    <a:pt x="1995" y="60"/>
                  </a:lnTo>
                  <a:lnTo>
                    <a:pt x="1994" y="60"/>
                  </a:lnTo>
                  <a:lnTo>
                    <a:pt x="1992" y="60"/>
                  </a:lnTo>
                  <a:lnTo>
                    <a:pt x="1983" y="61"/>
                  </a:lnTo>
                  <a:lnTo>
                    <a:pt x="1977" y="61"/>
                  </a:lnTo>
                  <a:lnTo>
                    <a:pt x="1966" y="55"/>
                  </a:lnTo>
                  <a:lnTo>
                    <a:pt x="1954" y="49"/>
                  </a:lnTo>
                  <a:lnTo>
                    <a:pt x="1946" y="46"/>
                  </a:lnTo>
                  <a:lnTo>
                    <a:pt x="1933" y="42"/>
                  </a:lnTo>
                  <a:lnTo>
                    <a:pt x="1928" y="40"/>
                  </a:lnTo>
                  <a:lnTo>
                    <a:pt x="1924" y="38"/>
                  </a:lnTo>
                  <a:lnTo>
                    <a:pt x="1923" y="37"/>
                  </a:lnTo>
                  <a:lnTo>
                    <a:pt x="1923" y="37"/>
                  </a:lnTo>
                  <a:lnTo>
                    <a:pt x="1924" y="37"/>
                  </a:lnTo>
                  <a:lnTo>
                    <a:pt x="1926" y="36"/>
                  </a:lnTo>
                  <a:lnTo>
                    <a:pt x="1937" y="36"/>
                  </a:lnTo>
                  <a:lnTo>
                    <a:pt x="1940" y="36"/>
                  </a:lnTo>
                  <a:lnTo>
                    <a:pt x="1936" y="35"/>
                  </a:lnTo>
                  <a:lnTo>
                    <a:pt x="1928" y="33"/>
                  </a:lnTo>
                  <a:lnTo>
                    <a:pt x="1923" y="31"/>
                  </a:lnTo>
                  <a:lnTo>
                    <a:pt x="1920" y="29"/>
                  </a:lnTo>
                  <a:lnTo>
                    <a:pt x="1918" y="28"/>
                  </a:lnTo>
                  <a:lnTo>
                    <a:pt x="1913" y="28"/>
                  </a:lnTo>
                  <a:lnTo>
                    <a:pt x="1909" y="30"/>
                  </a:lnTo>
                  <a:lnTo>
                    <a:pt x="1908" y="30"/>
                  </a:lnTo>
                  <a:lnTo>
                    <a:pt x="1904" y="28"/>
                  </a:lnTo>
                  <a:lnTo>
                    <a:pt x="1900" y="27"/>
                  </a:lnTo>
                  <a:lnTo>
                    <a:pt x="1890" y="27"/>
                  </a:lnTo>
                  <a:lnTo>
                    <a:pt x="1884" y="28"/>
                  </a:lnTo>
                  <a:lnTo>
                    <a:pt x="1884" y="30"/>
                  </a:lnTo>
                  <a:lnTo>
                    <a:pt x="1887" y="32"/>
                  </a:lnTo>
                  <a:lnTo>
                    <a:pt x="1888" y="33"/>
                  </a:lnTo>
                  <a:lnTo>
                    <a:pt x="1888" y="35"/>
                  </a:lnTo>
                  <a:lnTo>
                    <a:pt x="1890" y="36"/>
                  </a:lnTo>
                  <a:lnTo>
                    <a:pt x="1896" y="39"/>
                  </a:lnTo>
                  <a:lnTo>
                    <a:pt x="1908" y="46"/>
                  </a:lnTo>
                  <a:lnTo>
                    <a:pt x="1911" y="49"/>
                  </a:lnTo>
                  <a:lnTo>
                    <a:pt x="1911" y="50"/>
                  </a:lnTo>
                  <a:lnTo>
                    <a:pt x="1910" y="51"/>
                  </a:lnTo>
                  <a:lnTo>
                    <a:pt x="1908" y="52"/>
                  </a:lnTo>
                  <a:lnTo>
                    <a:pt x="1904" y="51"/>
                  </a:lnTo>
                  <a:lnTo>
                    <a:pt x="1889" y="45"/>
                  </a:lnTo>
                  <a:lnTo>
                    <a:pt x="1881" y="39"/>
                  </a:lnTo>
                  <a:lnTo>
                    <a:pt x="1882" y="39"/>
                  </a:lnTo>
                  <a:lnTo>
                    <a:pt x="1882" y="38"/>
                  </a:lnTo>
                  <a:lnTo>
                    <a:pt x="1882" y="37"/>
                  </a:lnTo>
                  <a:lnTo>
                    <a:pt x="1881" y="36"/>
                  </a:lnTo>
                  <a:lnTo>
                    <a:pt x="1878" y="34"/>
                  </a:lnTo>
                  <a:lnTo>
                    <a:pt x="1874" y="32"/>
                  </a:lnTo>
                  <a:lnTo>
                    <a:pt x="1863" y="30"/>
                  </a:lnTo>
                  <a:lnTo>
                    <a:pt x="1858" y="30"/>
                  </a:lnTo>
                  <a:lnTo>
                    <a:pt x="1859" y="31"/>
                  </a:lnTo>
                  <a:lnTo>
                    <a:pt x="1861" y="33"/>
                  </a:lnTo>
                  <a:lnTo>
                    <a:pt x="1861" y="34"/>
                  </a:lnTo>
                  <a:lnTo>
                    <a:pt x="1861" y="34"/>
                  </a:lnTo>
                  <a:lnTo>
                    <a:pt x="1860" y="34"/>
                  </a:lnTo>
                  <a:lnTo>
                    <a:pt x="1858" y="34"/>
                  </a:lnTo>
                  <a:lnTo>
                    <a:pt x="1849" y="31"/>
                  </a:lnTo>
                  <a:lnTo>
                    <a:pt x="1843" y="28"/>
                  </a:lnTo>
                  <a:lnTo>
                    <a:pt x="1841" y="27"/>
                  </a:lnTo>
                  <a:lnTo>
                    <a:pt x="1839" y="26"/>
                  </a:lnTo>
                  <a:lnTo>
                    <a:pt x="1836" y="25"/>
                  </a:lnTo>
                  <a:lnTo>
                    <a:pt x="1827" y="26"/>
                  </a:lnTo>
                  <a:lnTo>
                    <a:pt x="1811" y="28"/>
                  </a:lnTo>
                  <a:lnTo>
                    <a:pt x="1802" y="30"/>
                  </a:lnTo>
                  <a:lnTo>
                    <a:pt x="1793" y="30"/>
                  </a:lnTo>
                  <a:lnTo>
                    <a:pt x="1780" y="31"/>
                  </a:lnTo>
                  <a:lnTo>
                    <a:pt x="1769" y="31"/>
                  </a:lnTo>
                  <a:lnTo>
                    <a:pt x="1763" y="32"/>
                  </a:lnTo>
                  <a:lnTo>
                    <a:pt x="1769" y="37"/>
                  </a:lnTo>
                  <a:lnTo>
                    <a:pt x="1785" y="46"/>
                  </a:lnTo>
                  <a:lnTo>
                    <a:pt x="1798" y="54"/>
                  </a:lnTo>
                  <a:lnTo>
                    <a:pt x="1801" y="56"/>
                  </a:lnTo>
                  <a:lnTo>
                    <a:pt x="1793" y="52"/>
                  </a:lnTo>
                  <a:lnTo>
                    <a:pt x="1778" y="46"/>
                  </a:lnTo>
                  <a:lnTo>
                    <a:pt x="1771" y="42"/>
                  </a:lnTo>
                  <a:lnTo>
                    <a:pt x="1764" y="39"/>
                  </a:lnTo>
                  <a:lnTo>
                    <a:pt x="1756" y="37"/>
                  </a:lnTo>
                  <a:lnTo>
                    <a:pt x="1751" y="36"/>
                  </a:lnTo>
                  <a:lnTo>
                    <a:pt x="1743" y="36"/>
                  </a:lnTo>
                  <a:lnTo>
                    <a:pt x="1737" y="37"/>
                  </a:lnTo>
                  <a:lnTo>
                    <a:pt x="1735" y="37"/>
                  </a:lnTo>
                  <a:lnTo>
                    <a:pt x="1735" y="38"/>
                  </a:lnTo>
                  <a:lnTo>
                    <a:pt x="1733" y="39"/>
                  </a:lnTo>
                  <a:lnTo>
                    <a:pt x="1727" y="39"/>
                  </a:lnTo>
                  <a:lnTo>
                    <a:pt x="1725" y="39"/>
                  </a:lnTo>
                  <a:lnTo>
                    <a:pt x="1723" y="39"/>
                  </a:lnTo>
                  <a:lnTo>
                    <a:pt x="1722" y="40"/>
                  </a:lnTo>
                  <a:lnTo>
                    <a:pt x="1723" y="42"/>
                  </a:lnTo>
                  <a:lnTo>
                    <a:pt x="1732" y="47"/>
                  </a:lnTo>
                  <a:lnTo>
                    <a:pt x="1742" y="50"/>
                  </a:lnTo>
                  <a:lnTo>
                    <a:pt x="1743" y="51"/>
                  </a:lnTo>
                  <a:lnTo>
                    <a:pt x="1743" y="52"/>
                  </a:lnTo>
                  <a:lnTo>
                    <a:pt x="1742" y="53"/>
                  </a:lnTo>
                  <a:lnTo>
                    <a:pt x="1741" y="53"/>
                  </a:lnTo>
                  <a:lnTo>
                    <a:pt x="1738" y="55"/>
                  </a:lnTo>
                  <a:lnTo>
                    <a:pt x="1736" y="56"/>
                  </a:lnTo>
                  <a:lnTo>
                    <a:pt x="1738" y="58"/>
                  </a:lnTo>
                  <a:lnTo>
                    <a:pt x="1744" y="61"/>
                  </a:lnTo>
                  <a:lnTo>
                    <a:pt x="1747" y="64"/>
                  </a:lnTo>
                  <a:lnTo>
                    <a:pt x="1748" y="66"/>
                  </a:lnTo>
                  <a:lnTo>
                    <a:pt x="1747" y="67"/>
                  </a:lnTo>
                  <a:lnTo>
                    <a:pt x="1744" y="67"/>
                  </a:lnTo>
                  <a:lnTo>
                    <a:pt x="1724" y="64"/>
                  </a:lnTo>
                  <a:lnTo>
                    <a:pt x="1713" y="62"/>
                  </a:lnTo>
                  <a:lnTo>
                    <a:pt x="1706" y="66"/>
                  </a:lnTo>
                  <a:lnTo>
                    <a:pt x="1689" y="72"/>
                  </a:lnTo>
                  <a:lnTo>
                    <a:pt x="1679" y="78"/>
                  </a:lnTo>
                  <a:lnTo>
                    <a:pt x="1668" y="84"/>
                  </a:lnTo>
                  <a:lnTo>
                    <a:pt x="1659" y="90"/>
                  </a:lnTo>
                  <a:lnTo>
                    <a:pt x="1654" y="92"/>
                  </a:lnTo>
                  <a:lnTo>
                    <a:pt x="1651" y="92"/>
                  </a:lnTo>
                  <a:lnTo>
                    <a:pt x="1650" y="90"/>
                  </a:lnTo>
                  <a:lnTo>
                    <a:pt x="1649" y="89"/>
                  </a:lnTo>
                  <a:lnTo>
                    <a:pt x="1647" y="89"/>
                  </a:lnTo>
                  <a:lnTo>
                    <a:pt x="1645" y="90"/>
                  </a:lnTo>
                  <a:lnTo>
                    <a:pt x="1641" y="92"/>
                  </a:lnTo>
                  <a:lnTo>
                    <a:pt x="1635" y="97"/>
                  </a:lnTo>
                  <a:lnTo>
                    <a:pt x="1632" y="101"/>
                  </a:lnTo>
                  <a:lnTo>
                    <a:pt x="1632" y="104"/>
                  </a:lnTo>
                  <a:lnTo>
                    <a:pt x="1633" y="106"/>
                  </a:lnTo>
                  <a:lnTo>
                    <a:pt x="1633" y="109"/>
                  </a:lnTo>
                  <a:lnTo>
                    <a:pt x="1633" y="111"/>
                  </a:lnTo>
                  <a:lnTo>
                    <a:pt x="1636" y="113"/>
                  </a:lnTo>
                  <a:lnTo>
                    <a:pt x="1642" y="116"/>
                  </a:lnTo>
                  <a:lnTo>
                    <a:pt x="1647" y="117"/>
                  </a:lnTo>
                  <a:lnTo>
                    <a:pt x="1654" y="118"/>
                  </a:lnTo>
                  <a:lnTo>
                    <a:pt x="1659" y="117"/>
                  </a:lnTo>
                  <a:lnTo>
                    <a:pt x="1665" y="116"/>
                  </a:lnTo>
                  <a:lnTo>
                    <a:pt x="1678" y="115"/>
                  </a:lnTo>
                  <a:lnTo>
                    <a:pt x="1690" y="115"/>
                  </a:lnTo>
                  <a:lnTo>
                    <a:pt x="1701" y="116"/>
                  </a:lnTo>
                  <a:lnTo>
                    <a:pt x="1706" y="116"/>
                  </a:lnTo>
                  <a:lnTo>
                    <a:pt x="1706" y="117"/>
                  </a:lnTo>
                  <a:lnTo>
                    <a:pt x="1703" y="119"/>
                  </a:lnTo>
                  <a:lnTo>
                    <a:pt x="1695" y="122"/>
                  </a:lnTo>
                  <a:lnTo>
                    <a:pt x="1688" y="122"/>
                  </a:lnTo>
                  <a:lnTo>
                    <a:pt x="1685" y="123"/>
                  </a:lnTo>
                  <a:lnTo>
                    <a:pt x="1683" y="124"/>
                  </a:lnTo>
                  <a:lnTo>
                    <a:pt x="1682" y="125"/>
                  </a:lnTo>
                  <a:lnTo>
                    <a:pt x="1683" y="127"/>
                  </a:lnTo>
                  <a:lnTo>
                    <a:pt x="1690" y="132"/>
                  </a:lnTo>
                  <a:lnTo>
                    <a:pt x="1696" y="136"/>
                  </a:lnTo>
                  <a:lnTo>
                    <a:pt x="1699" y="137"/>
                  </a:lnTo>
                  <a:lnTo>
                    <a:pt x="1700" y="139"/>
                  </a:lnTo>
                  <a:lnTo>
                    <a:pt x="1700" y="140"/>
                  </a:lnTo>
                  <a:lnTo>
                    <a:pt x="1698" y="142"/>
                  </a:lnTo>
                  <a:lnTo>
                    <a:pt x="1685" y="148"/>
                  </a:lnTo>
                  <a:lnTo>
                    <a:pt x="1673" y="156"/>
                  </a:lnTo>
                  <a:lnTo>
                    <a:pt x="1665" y="159"/>
                  </a:lnTo>
                  <a:lnTo>
                    <a:pt x="1654" y="161"/>
                  </a:lnTo>
                  <a:lnTo>
                    <a:pt x="1640" y="163"/>
                  </a:lnTo>
                  <a:lnTo>
                    <a:pt x="1627" y="163"/>
                  </a:lnTo>
                  <a:lnTo>
                    <a:pt x="1622" y="163"/>
                  </a:lnTo>
                  <a:lnTo>
                    <a:pt x="1618" y="164"/>
                  </a:lnTo>
                  <a:lnTo>
                    <a:pt x="1616" y="165"/>
                  </a:lnTo>
                  <a:lnTo>
                    <a:pt x="1615" y="167"/>
                  </a:lnTo>
                  <a:lnTo>
                    <a:pt x="1614" y="169"/>
                  </a:lnTo>
                  <a:lnTo>
                    <a:pt x="1613" y="170"/>
                  </a:lnTo>
                  <a:lnTo>
                    <a:pt x="1611" y="172"/>
                  </a:lnTo>
                  <a:lnTo>
                    <a:pt x="1607" y="174"/>
                  </a:lnTo>
                  <a:lnTo>
                    <a:pt x="1593" y="178"/>
                  </a:lnTo>
                  <a:lnTo>
                    <a:pt x="1573" y="185"/>
                  </a:lnTo>
                  <a:lnTo>
                    <a:pt x="1563" y="188"/>
                  </a:lnTo>
                  <a:lnTo>
                    <a:pt x="1556" y="193"/>
                  </a:lnTo>
                  <a:lnTo>
                    <a:pt x="1554" y="196"/>
                  </a:lnTo>
                  <a:lnTo>
                    <a:pt x="1552" y="198"/>
                  </a:lnTo>
                  <a:lnTo>
                    <a:pt x="1551" y="200"/>
                  </a:lnTo>
                  <a:lnTo>
                    <a:pt x="1552" y="202"/>
                  </a:lnTo>
                  <a:lnTo>
                    <a:pt x="1555" y="206"/>
                  </a:lnTo>
                  <a:lnTo>
                    <a:pt x="1559" y="210"/>
                  </a:lnTo>
                  <a:lnTo>
                    <a:pt x="1563" y="213"/>
                  </a:lnTo>
                  <a:lnTo>
                    <a:pt x="1570" y="215"/>
                  </a:lnTo>
                  <a:lnTo>
                    <a:pt x="1575" y="219"/>
                  </a:lnTo>
                  <a:lnTo>
                    <a:pt x="1581" y="222"/>
                  </a:lnTo>
                  <a:lnTo>
                    <a:pt x="1585" y="225"/>
                  </a:lnTo>
                  <a:lnTo>
                    <a:pt x="1590" y="230"/>
                  </a:lnTo>
                  <a:lnTo>
                    <a:pt x="1593" y="239"/>
                  </a:lnTo>
                  <a:lnTo>
                    <a:pt x="1594" y="243"/>
                  </a:lnTo>
                  <a:lnTo>
                    <a:pt x="1594" y="245"/>
                  </a:lnTo>
                  <a:lnTo>
                    <a:pt x="1593" y="246"/>
                  </a:lnTo>
                  <a:lnTo>
                    <a:pt x="1591" y="247"/>
                  </a:lnTo>
                  <a:lnTo>
                    <a:pt x="1586" y="248"/>
                  </a:lnTo>
                  <a:lnTo>
                    <a:pt x="1584" y="249"/>
                  </a:lnTo>
                  <a:lnTo>
                    <a:pt x="1583" y="250"/>
                  </a:lnTo>
                  <a:lnTo>
                    <a:pt x="1584" y="251"/>
                  </a:lnTo>
                  <a:lnTo>
                    <a:pt x="1586" y="253"/>
                  </a:lnTo>
                  <a:lnTo>
                    <a:pt x="1590" y="253"/>
                  </a:lnTo>
                  <a:lnTo>
                    <a:pt x="1593" y="254"/>
                  </a:lnTo>
                  <a:lnTo>
                    <a:pt x="1597" y="253"/>
                  </a:lnTo>
                  <a:lnTo>
                    <a:pt x="1602" y="253"/>
                  </a:lnTo>
                  <a:lnTo>
                    <a:pt x="1612" y="249"/>
                  </a:lnTo>
                  <a:lnTo>
                    <a:pt x="1623" y="244"/>
                  </a:lnTo>
                  <a:lnTo>
                    <a:pt x="1634" y="240"/>
                  </a:lnTo>
                  <a:lnTo>
                    <a:pt x="1640" y="240"/>
                  </a:lnTo>
                  <a:lnTo>
                    <a:pt x="1645" y="241"/>
                  </a:lnTo>
                  <a:lnTo>
                    <a:pt x="1654" y="242"/>
                  </a:lnTo>
                  <a:lnTo>
                    <a:pt x="1657" y="243"/>
                  </a:lnTo>
                  <a:lnTo>
                    <a:pt x="1659" y="244"/>
                  </a:lnTo>
                  <a:lnTo>
                    <a:pt x="1659" y="245"/>
                  </a:lnTo>
                  <a:lnTo>
                    <a:pt x="1656" y="247"/>
                  </a:lnTo>
                  <a:lnTo>
                    <a:pt x="1651" y="249"/>
                  </a:lnTo>
                  <a:lnTo>
                    <a:pt x="1646" y="249"/>
                  </a:lnTo>
                  <a:lnTo>
                    <a:pt x="1641" y="248"/>
                  </a:lnTo>
                  <a:lnTo>
                    <a:pt x="1636" y="248"/>
                  </a:lnTo>
                  <a:lnTo>
                    <a:pt x="1630" y="247"/>
                  </a:lnTo>
                  <a:lnTo>
                    <a:pt x="1625" y="247"/>
                  </a:lnTo>
                  <a:lnTo>
                    <a:pt x="1621" y="249"/>
                  </a:lnTo>
                  <a:lnTo>
                    <a:pt x="1618" y="252"/>
                  </a:lnTo>
                  <a:lnTo>
                    <a:pt x="1614" y="256"/>
                  </a:lnTo>
                  <a:lnTo>
                    <a:pt x="1611" y="258"/>
                  </a:lnTo>
                  <a:lnTo>
                    <a:pt x="1608" y="259"/>
                  </a:lnTo>
                  <a:lnTo>
                    <a:pt x="1605" y="259"/>
                  </a:lnTo>
                  <a:lnTo>
                    <a:pt x="1603" y="259"/>
                  </a:lnTo>
                  <a:lnTo>
                    <a:pt x="1601" y="259"/>
                  </a:lnTo>
                  <a:lnTo>
                    <a:pt x="1599" y="261"/>
                  </a:lnTo>
                  <a:lnTo>
                    <a:pt x="1598" y="262"/>
                  </a:lnTo>
                  <a:lnTo>
                    <a:pt x="1596" y="264"/>
                  </a:lnTo>
                  <a:lnTo>
                    <a:pt x="1593" y="265"/>
                  </a:lnTo>
                  <a:lnTo>
                    <a:pt x="1589" y="265"/>
                  </a:lnTo>
                  <a:lnTo>
                    <a:pt x="1583" y="265"/>
                  </a:lnTo>
                  <a:lnTo>
                    <a:pt x="1579" y="265"/>
                  </a:lnTo>
                  <a:lnTo>
                    <a:pt x="1575" y="265"/>
                  </a:lnTo>
                  <a:lnTo>
                    <a:pt x="1574" y="266"/>
                  </a:lnTo>
                  <a:lnTo>
                    <a:pt x="1573" y="267"/>
                  </a:lnTo>
                  <a:lnTo>
                    <a:pt x="1572" y="268"/>
                  </a:lnTo>
                  <a:lnTo>
                    <a:pt x="1572" y="269"/>
                  </a:lnTo>
                  <a:lnTo>
                    <a:pt x="1572" y="272"/>
                  </a:lnTo>
                  <a:lnTo>
                    <a:pt x="1574" y="275"/>
                  </a:lnTo>
                  <a:lnTo>
                    <a:pt x="1576" y="277"/>
                  </a:lnTo>
                  <a:lnTo>
                    <a:pt x="1579" y="278"/>
                  </a:lnTo>
                  <a:lnTo>
                    <a:pt x="1585" y="284"/>
                  </a:lnTo>
                  <a:lnTo>
                    <a:pt x="1593" y="291"/>
                  </a:lnTo>
                  <a:lnTo>
                    <a:pt x="1596" y="295"/>
                  </a:lnTo>
                  <a:lnTo>
                    <a:pt x="1597" y="298"/>
                  </a:lnTo>
                  <a:lnTo>
                    <a:pt x="1598" y="301"/>
                  </a:lnTo>
                  <a:lnTo>
                    <a:pt x="1598" y="302"/>
                  </a:lnTo>
                  <a:lnTo>
                    <a:pt x="1598" y="305"/>
                  </a:lnTo>
                  <a:lnTo>
                    <a:pt x="1599" y="307"/>
                  </a:lnTo>
                  <a:lnTo>
                    <a:pt x="1601" y="309"/>
                  </a:lnTo>
                  <a:lnTo>
                    <a:pt x="1604" y="312"/>
                  </a:lnTo>
                  <a:lnTo>
                    <a:pt x="1610" y="316"/>
                  </a:lnTo>
                  <a:lnTo>
                    <a:pt x="1615" y="319"/>
                  </a:lnTo>
                  <a:lnTo>
                    <a:pt x="1621" y="322"/>
                  </a:lnTo>
                  <a:lnTo>
                    <a:pt x="1628" y="324"/>
                  </a:lnTo>
                  <a:lnTo>
                    <a:pt x="1637" y="327"/>
                  </a:lnTo>
                  <a:lnTo>
                    <a:pt x="1646" y="329"/>
                  </a:lnTo>
                  <a:lnTo>
                    <a:pt x="1657" y="330"/>
                  </a:lnTo>
                  <a:lnTo>
                    <a:pt x="1668" y="330"/>
                  </a:lnTo>
                  <a:lnTo>
                    <a:pt x="1681" y="329"/>
                  </a:lnTo>
                  <a:lnTo>
                    <a:pt x="1691" y="327"/>
                  </a:lnTo>
                  <a:lnTo>
                    <a:pt x="1702" y="323"/>
                  </a:lnTo>
                  <a:lnTo>
                    <a:pt x="1710" y="320"/>
                  </a:lnTo>
                  <a:lnTo>
                    <a:pt x="1719" y="317"/>
                  </a:lnTo>
                  <a:lnTo>
                    <a:pt x="1725" y="315"/>
                  </a:lnTo>
                  <a:lnTo>
                    <a:pt x="1731" y="314"/>
                  </a:lnTo>
                  <a:lnTo>
                    <a:pt x="1736" y="315"/>
                  </a:lnTo>
                  <a:lnTo>
                    <a:pt x="1748" y="319"/>
                  </a:lnTo>
                  <a:lnTo>
                    <a:pt x="1764" y="324"/>
                  </a:lnTo>
                  <a:lnTo>
                    <a:pt x="1772" y="329"/>
                  </a:lnTo>
                  <a:lnTo>
                    <a:pt x="1781" y="332"/>
                  </a:lnTo>
                  <a:lnTo>
                    <a:pt x="1789" y="337"/>
                  </a:lnTo>
                  <a:lnTo>
                    <a:pt x="1796" y="341"/>
                  </a:lnTo>
                  <a:lnTo>
                    <a:pt x="1809" y="351"/>
                  </a:lnTo>
                  <a:lnTo>
                    <a:pt x="1820" y="356"/>
                  </a:lnTo>
                  <a:lnTo>
                    <a:pt x="1825" y="359"/>
                  </a:lnTo>
                  <a:lnTo>
                    <a:pt x="1829" y="362"/>
                  </a:lnTo>
                  <a:lnTo>
                    <a:pt x="1832" y="366"/>
                  </a:lnTo>
                  <a:lnTo>
                    <a:pt x="1833" y="372"/>
                  </a:lnTo>
                  <a:lnTo>
                    <a:pt x="1833" y="383"/>
                  </a:lnTo>
                  <a:lnTo>
                    <a:pt x="1834" y="394"/>
                  </a:lnTo>
                  <a:lnTo>
                    <a:pt x="1837" y="402"/>
                  </a:lnTo>
                  <a:lnTo>
                    <a:pt x="1840" y="408"/>
                  </a:lnTo>
                  <a:lnTo>
                    <a:pt x="1848" y="421"/>
                  </a:lnTo>
                  <a:lnTo>
                    <a:pt x="1855" y="432"/>
                  </a:lnTo>
                  <a:lnTo>
                    <a:pt x="1859" y="438"/>
                  </a:lnTo>
                  <a:lnTo>
                    <a:pt x="1865" y="446"/>
                  </a:lnTo>
                  <a:lnTo>
                    <a:pt x="1868" y="450"/>
                  </a:lnTo>
                  <a:lnTo>
                    <a:pt x="1869" y="454"/>
                  </a:lnTo>
                  <a:lnTo>
                    <a:pt x="1869" y="456"/>
                  </a:lnTo>
                  <a:lnTo>
                    <a:pt x="1869" y="459"/>
                  </a:lnTo>
                  <a:lnTo>
                    <a:pt x="1868" y="461"/>
                  </a:lnTo>
                  <a:lnTo>
                    <a:pt x="1866" y="463"/>
                  </a:lnTo>
                  <a:lnTo>
                    <a:pt x="1864" y="466"/>
                  </a:lnTo>
                  <a:lnTo>
                    <a:pt x="1864" y="468"/>
                  </a:lnTo>
                  <a:lnTo>
                    <a:pt x="1865" y="469"/>
                  </a:lnTo>
                  <a:lnTo>
                    <a:pt x="1868" y="470"/>
                  </a:lnTo>
                  <a:lnTo>
                    <a:pt x="1873" y="471"/>
                  </a:lnTo>
                  <a:lnTo>
                    <a:pt x="1877" y="473"/>
                  </a:lnTo>
                  <a:lnTo>
                    <a:pt x="1882" y="476"/>
                  </a:lnTo>
                  <a:lnTo>
                    <a:pt x="1887" y="482"/>
                  </a:lnTo>
                  <a:lnTo>
                    <a:pt x="1892" y="488"/>
                  </a:lnTo>
                  <a:lnTo>
                    <a:pt x="1897" y="492"/>
                  </a:lnTo>
                  <a:lnTo>
                    <a:pt x="1900" y="494"/>
                  </a:lnTo>
                  <a:lnTo>
                    <a:pt x="1903" y="496"/>
                  </a:lnTo>
                  <a:lnTo>
                    <a:pt x="1904" y="497"/>
                  </a:lnTo>
                  <a:lnTo>
                    <a:pt x="1905" y="498"/>
                  </a:lnTo>
                  <a:lnTo>
                    <a:pt x="1905" y="499"/>
                  </a:lnTo>
                  <a:lnTo>
                    <a:pt x="1903" y="503"/>
                  </a:lnTo>
                  <a:lnTo>
                    <a:pt x="1898" y="508"/>
                  </a:lnTo>
                  <a:lnTo>
                    <a:pt x="1892" y="510"/>
                  </a:lnTo>
                  <a:lnTo>
                    <a:pt x="1891" y="511"/>
                  </a:lnTo>
                  <a:lnTo>
                    <a:pt x="1890" y="513"/>
                  </a:lnTo>
                  <a:lnTo>
                    <a:pt x="1891" y="516"/>
                  </a:lnTo>
                  <a:lnTo>
                    <a:pt x="1895" y="519"/>
                  </a:lnTo>
                  <a:lnTo>
                    <a:pt x="1898" y="523"/>
                  </a:lnTo>
                  <a:lnTo>
                    <a:pt x="1898" y="527"/>
                  </a:lnTo>
                  <a:lnTo>
                    <a:pt x="1898" y="529"/>
                  </a:lnTo>
                  <a:lnTo>
                    <a:pt x="1896" y="530"/>
                  </a:lnTo>
                  <a:lnTo>
                    <a:pt x="1890" y="533"/>
                  </a:lnTo>
                  <a:lnTo>
                    <a:pt x="1885" y="536"/>
                  </a:lnTo>
                  <a:lnTo>
                    <a:pt x="1882" y="541"/>
                  </a:lnTo>
                  <a:lnTo>
                    <a:pt x="1880" y="545"/>
                  </a:lnTo>
                  <a:lnTo>
                    <a:pt x="1880" y="549"/>
                  </a:lnTo>
                  <a:lnTo>
                    <a:pt x="1880" y="551"/>
                  </a:lnTo>
                  <a:lnTo>
                    <a:pt x="1881" y="555"/>
                  </a:lnTo>
                  <a:lnTo>
                    <a:pt x="1883" y="559"/>
                  </a:lnTo>
                  <a:lnTo>
                    <a:pt x="1884" y="560"/>
                  </a:lnTo>
                  <a:lnTo>
                    <a:pt x="1885" y="562"/>
                  </a:lnTo>
                  <a:lnTo>
                    <a:pt x="1887" y="562"/>
                  </a:lnTo>
                  <a:lnTo>
                    <a:pt x="1889" y="563"/>
                  </a:lnTo>
                  <a:lnTo>
                    <a:pt x="1893" y="562"/>
                  </a:lnTo>
                  <a:lnTo>
                    <a:pt x="1898" y="560"/>
                  </a:lnTo>
                  <a:lnTo>
                    <a:pt x="1909" y="555"/>
                  </a:lnTo>
                  <a:lnTo>
                    <a:pt x="1920" y="551"/>
                  </a:lnTo>
                  <a:lnTo>
                    <a:pt x="1931" y="549"/>
                  </a:lnTo>
                  <a:lnTo>
                    <a:pt x="1942" y="545"/>
                  </a:lnTo>
                  <a:lnTo>
                    <a:pt x="1946" y="547"/>
                  </a:lnTo>
                  <a:lnTo>
                    <a:pt x="1950" y="548"/>
                  </a:lnTo>
                  <a:lnTo>
                    <a:pt x="1953" y="552"/>
                  </a:lnTo>
                  <a:lnTo>
                    <a:pt x="1954" y="559"/>
                  </a:lnTo>
                  <a:lnTo>
                    <a:pt x="1956" y="566"/>
                  </a:lnTo>
                  <a:lnTo>
                    <a:pt x="1958" y="574"/>
                  </a:lnTo>
                  <a:lnTo>
                    <a:pt x="1962" y="580"/>
                  </a:lnTo>
                  <a:lnTo>
                    <a:pt x="1965" y="585"/>
                  </a:lnTo>
                  <a:lnTo>
                    <a:pt x="1967" y="591"/>
                  </a:lnTo>
                  <a:lnTo>
                    <a:pt x="1970" y="596"/>
                  </a:lnTo>
                  <a:lnTo>
                    <a:pt x="1971" y="600"/>
                  </a:lnTo>
                  <a:lnTo>
                    <a:pt x="1972" y="605"/>
                  </a:lnTo>
                  <a:lnTo>
                    <a:pt x="1972" y="609"/>
                  </a:lnTo>
                  <a:lnTo>
                    <a:pt x="1971" y="613"/>
                  </a:lnTo>
                  <a:lnTo>
                    <a:pt x="1969" y="615"/>
                  </a:lnTo>
                  <a:lnTo>
                    <a:pt x="1965" y="616"/>
                  </a:lnTo>
                  <a:lnTo>
                    <a:pt x="1961" y="615"/>
                  </a:lnTo>
                  <a:lnTo>
                    <a:pt x="1955" y="613"/>
                  </a:lnTo>
                  <a:lnTo>
                    <a:pt x="1948" y="608"/>
                  </a:lnTo>
                  <a:lnTo>
                    <a:pt x="1941" y="602"/>
                  </a:lnTo>
                  <a:lnTo>
                    <a:pt x="1932" y="596"/>
                  </a:lnTo>
                  <a:lnTo>
                    <a:pt x="1925" y="593"/>
                  </a:lnTo>
                  <a:lnTo>
                    <a:pt x="1919" y="592"/>
                  </a:lnTo>
                  <a:lnTo>
                    <a:pt x="1913" y="593"/>
                  </a:lnTo>
                  <a:lnTo>
                    <a:pt x="1908" y="595"/>
                  </a:lnTo>
                  <a:lnTo>
                    <a:pt x="1905" y="597"/>
                  </a:lnTo>
                  <a:lnTo>
                    <a:pt x="1902" y="600"/>
                  </a:lnTo>
                  <a:lnTo>
                    <a:pt x="1899" y="603"/>
                  </a:lnTo>
                  <a:lnTo>
                    <a:pt x="1899" y="604"/>
                  </a:lnTo>
                  <a:lnTo>
                    <a:pt x="1899" y="605"/>
                  </a:lnTo>
                  <a:lnTo>
                    <a:pt x="1900" y="607"/>
                  </a:lnTo>
                  <a:lnTo>
                    <a:pt x="1902" y="608"/>
                  </a:lnTo>
                  <a:lnTo>
                    <a:pt x="1907" y="610"/>
                  </a:lnTo>
                  <a:lnTo>
                    <a:pt x="1913" y="613"/>
                  </a:lnTo>
                  <a:lnTo>
                    <a:pt x="1920" y="615"/>
                  </a:lnTo>
                  <a:lnTo>
                    <a:pt x="1926" y="617"/>
                  </a:lnTo>
                  <a:lnTo>
                    <a:pt x="1930" y="620"/>
                  </a:lnTo>
                  <a:lnTo>
                    <a:pt x="1932" y="623"/>
                  </a:lnTo>
                  <a:lnTo>
                    <a:pt x="1932" y="624"/>
                  </a:lnTo>
                  <a:lnTo>
                    <a:pt x="1932" y="625"/>
                  </a:lnTo>
                  <a:lnTo>
                    <a:pt x="1930" y="626"/>
                  </a:lnTo>
                  <a:lnTo>
                    <a:pt x="1928" y="627"/>
                  </a:lnTo>
                  <a:lnTo>
                    <a:pt x="1922" y="627"/>
                  </a:lnTo>
                  <a:lnTo>
                    <a:pt x="1915" y="627"/>
                  </a:lnTo>
                  <a:lnTo>
                    <a:pt x="1908" y="627"/>
                  </a:lnTo>
                  <a:lnTo>
                    <a:pt x="1902" y="627"/>
                  </a:lnTo>
                  <a:lnTo>
                    <a:pt x="1900" y="628"/>
                  </a:lnTo>
                  <a:lnTo>
                    <a:pt x="1898" y="629"/>
                  </a:lnTo>
                  <a:lnTo>
                    <a:pt x="1897" y="630"/>
                  </a:lnTo>
                  <a:lnTo>
                    <a:pt x="1897" y="632"/>
                  </a:lnTo>
                  <a:lnTo>
                    <a:pt x="1899" y="638"/>
                  </a:lnTo>
                  <a:lnTo>
                    <a:pt x="1904" y="645"/>
                  </a:lnTo>
                  <a:lnTo>
                    <a:pt x="1909" y="653"/>
                  </a:lnTo>
                  <a:lnTo>
                    <a:pt x="1917" y="662"/>
                  </a:lnTo>
                  <a:lnTo>
                    <a:pt x="1928" y="676"/>
                  </a:lnTo>
                  <a:lnTo>
                    <a:pt x="1934" y="683"/>
                  </a:lnTo>
                  <a:lnTo>
                    <a:pt x="1942" y="673"/>
                  </a:lnTo>
                  <a:lnTo>
                    <a:pt x="1947" y="667"/>
                  </a:lnTo>
                  <a:lnTo>
                    <a:pt x="1951" y="661"/>
                  </a:lnTo>
                  <a:lnTo>
                    <a:pt x="1958" y="650"/>
                  </a:lnTo>
                  <a:lnTo>
                    <a:pt x="1955" y="646"/>
                  </a:lnTo>
                  <a:lnTo>
                    <a:pt x="1950" y="637"/>
                  </a:lnTo>
                  <a:lnTo>
                    <a:pt x="1948" y="631"/>
                  </a:lnTo>
                  <a:lnTo>
                    <a:pt x="1949" y="628"/>
                  </a:lnTo>
                  <a:lnTo>
                    <a:pt x="1950" y="627"/>
                  </a:lnTo>
                  <a:lnTo>
                    <a:pt x="1951" y="626"/>
                  </a:lnTo>
                  <a:lnTo>
                    <a:pt x="1953" y="626"/>
                  </a:lnTo>
                  <a:lnTo>
                    <a:pt x="1957" y="627"/>
                  </a:lnTo>
                  <a:lnTo>
                    <a:pt x="1969" y="631"/>
                  </a:lnTo>
                  <a:lnTo>
                    <a:pt x="1976" y="635"/>
                  </a:lnTo>
                  <a:lnTo>
                    <a:pt x="1979" y="637"/>
                  </a:lnTo>
                  <a:lnTo>
                    <a:pt x="1980" y="639"/>
                  </a:lnTo>
                  <a:lnTo>
                    <a:pt x="1981" y="642"/>
                  </a:lnTo>
                  <a:lnTo>
                    <a:pt x="1981" y="646"/>
                  </a:lnTo>
                  <a:lnTo>
                    <a:pt x="1981" y="650"/>
                  </a:lnTo>
                  <a:lnTo>
                    <a:pt x="1980" y="653"/>
                  </a:lnTo>
                  <a:lnTo>
                    <a:pt x="1978" y="658"/>
                  </a:lnTo>
                  <a:lnTo>
                    <a:pt x="1976" y="661"/>
                  </a:lnTo>
                  <a:lnTo>
                    <a:pt x="1974" y="665"/>
                  </a:lnTo>
                  <a:lnTo>
                    <a:pt x="1972" y="669"/>
                  </a:lnTo>
                  <a:lnTo>
                    <a:pt x="1971" y="673"/>
                  </a:lnTo>
                  <a:lnTo>
                    <a:pt x="1971" y="680"/>
                  </a:lnTo>
                  <a:lnTo>
                    <a:pt x="1971" y="686"/>
                  </a:lnTo>
                  <a:lnTo>
                    <a:pt x="1969" y="692"/>
                  </a:lnTo>
                  <a:lnTo>
                    <a:pt x="1967" y="697"/>
                  </a:lnTo>
                  <a:lnTo>
                    <a:pt x="1964" y="702"/>
                  </a:lnTo>
                  <a:lnTo>
                    <a:pt x="1959" y="706"/>
                  </a:lnTo>
                  <a:lnTo>
                    <a:pt x="1955" y="710"/>
                  </a:lnTo>
                  <a:lnTo>
                    <a:pt x="1950" y="714"/>
                  </a:lnTo>
                  <a:lnTo>
                    <a:pt x="1945" y="717"/>
                  </a:lnTo>
                  <a:lnTo>
                    <a:pt x="1940" y="722"/>
                  </a:lnTo>
                  <a:lnTo>
                    <a:pt x="1935" y="727"/>
                  </a:lnTo>
                  <a:lnTo>
                    <a:pt x="1932" y="732"/>
                  </a:lnTo>
                  <a:lnTo>
                    <a:pt x="1929" y="738"/>
                  </a:lnTo>
                  <a:lnTo>
                    <a:pt x="1925" y="750"/>
                  </a:lnTo>
                  <a:lnTo>
                    <a:pt x="1923" y="759"/>
                  </a:lnTo>
                  <a:lnTo>
                    <a:pt x="1923" y="764"/>
                  </a:lnTo>
                  <a:lnTo>
                    <a:pt x="1924" y="772"/>
                  </a:lnTo>
                  <a:lnTo>
                    <a:pt x="1927" y="780"/>
                  </a:lnTo>
                  <a:lnTo>
                    <a:pt x="1931" y="791"/>
                  </a:lnTo>
                  <a:lnTo>
                    <a:pt x="1940" y="808"/>
                  </a:lnTo>
                  <a:lnTo>
                    <a:pt x="1944" y="821"/>
                  </a:lnTo>
                  <a:lnTo>
                    <a:pt x="1945" y="826"/>
                  </a:lnTo>
                  <a:lnTo>
                    <a:pt x="1948" y="832"/>
                  </a:lnTo>
                  <a:lnTo>
                    <a:pt x="1953" y="838"/>
                  </a:lnTo>
                  <a:lnTo>
                    <a:pt x="1958" y="845"/>
                  </a:lnTo>
                  <a:lnTo>
                    <a:pt x="1971" y="858"/>
                  </a:lnTo>
                  <a:lnTo>
                    <a:pt x="1979" y="867"/>
                  </a:lnTo>
                  <a:lnTo>
                    <a:pt x="1991" y="874"/>
                  </a:lnTo>
                  <a:lnTo>
                    <a:pt x="2008" y="882"/>
                  </a:lnTo>
                  <a:lnTo>
                    <a:pt x="2014" y="885"/>
                  </a:lnTo>
                  <a:lnTo>
                    <a:pt x="2016" y="888"/>
                  </a:lnTo>
                  <a:lnTo>
                    <a:pt x="2016" y="890"/>
                  </a:lnTo>
                  <a:lnTo>
                    <a:pt x="2014" y="891"/>
                  </a:lnTo>
                  <a:lnTo>
                    <a:pt x="2011" y="893"/>
                  </a:lnTo>
                  <a:lnTo>
                    <a:pt x="2005" y="894"/>
                  </a:lnTo>
                  <a:lnTo>
                    <a:pt x="1994" y="898"/>
                  </a:lnTo>
                  <a:lnTo>
                    <a:pt x="1985" y="900"/>
                  </a:lnTo>
                  <a:lnTo>
                    <a:pt x="1978" y="903"/>
                  </a:lnTo>
                  <a:lnTo>
                    <a:pt x="1975" y="906"/>
                  </a:lnTo>
                  <a:lnTo>
                    <a:pt x="1973" y="909"/>
                  </a:lnTo>
                  <a:lnTo>
                    <a:pt x="1973" y="913"/>
                  </a:lnTo>
                  <a:lnTo>
                    <a:pt x="1974" y="918"/>
                  </a:lnTo>
                  <a:lnTo>
                    <a:pt x="1977" y="924"/>
                  </a:lnTo>
                  <a:lnTo>
                    <a:pt x="1995" y="945"/>
                  </a:lnTo>
                  <a:lnTo>
                    <a:pt x="2024" y="977"/>
                  </a:lnTo>
                  <a:lnTo>
                    <a:pt x="2038" y="994"/>
                  </a:lnTo>
                  <a:lnTo>
                    <a:pt x="2051" y="1010"/>
                  </a:lnTo>
                  <a:lnTo>
                    <a:pt x="2055" y="1017"/>
                  </a:lnTo>
                  <a:lnTo>
                    <a:pt x="2058" y="1022"/>
                  </a:lnTo>
                  <a:lnTo>
                    <a:pt x="2060" y="1027"/>
                  </a:lnTo>
                  <a:lnTo>
                    <a:pt x="2060" y="1032"/>
                  </a:lnTo>
                  <a:lnTo>
                    <a:pt x="2058" y="1037"/>
                  </a:lnTo>
                  <a:lnTo>
                    <a:pt x="2056" y="1041"/>
                  </a:lnTo>
                  <a:lnTo>
                    <a:pt x="2053" y="1042"/>
                  </a:lnTo>
                  <a:lnTo>
                    <a:pt x="2050" y="1043"/>
                  </a:lnTo>
                  <a:lnTo>
                    <a:pt x="2047" y="1044"/>
                  </a:lnTo>
                  <a:lnTo>
                    <a:pt x="2045" y="1045"/>
                  </a:lnTo>
                  <a:lnTo>
                    <a:pt x="2045" y="1047"/>
                  </a:lnTo>
                  <a:lnTo>
                    <a:pt x="2046" y="1052"/>
                  </a:lnTo>
                  <a:lnTo>
                    <a:pt x="2047" y="1054"/>
                  </a:lnTo>
                  <a:lnTo>
                    <a:pt x="2050" y="1055"/>
                  </a:lnTo>
                  <a:lnTo>
                    <a:pt x="2052" y="1056"/>
                  </a:lnTo>
                  <a:lnTo>
                    <a:pt x="2054" y="1056"/>
                  </a:lnTo>
                  <a:lnTo>
                    <a:pt x="2059" y="1056"/>
                  </a:lnTo>
                  <a:lnTo>
                    <a:pt x="2065" y="1054"/>
                  </a:lnTo>
                  <a:lnTo>
                    <a:pt x="2072" y="1053"/>
                  </a:lnTo>
                  <a:lnTo>
                    <a:pt x="2078" y="1053"/>
                  </a:lnTo>
                  <a:lnTo>
                    <a:pt x="2080" y="1053"/>
                  </a:lnTo>
                  <a:lnTo>
                    <a:pt x="2082" y="1053"/>
                  </a:lnTo>
                  <a:lnTo>
                    <a:pt x="2084" y="1055"/>
                  </a:lnTo>
                  <a:lnTo>
                    <a:pt x="2086" y="1056"/>
                  </a:lnTo>
                  <a:lnTo>
                    <a:pt x="2088" y="1059"/>
                  </a:lnTo>
                  <a:lnTo>
                    <a:pt x="2090" y="1061"/>
                  </a:lnTo>
                  <a:lnTo>
                    <a:pt x="2094" y="1061"/>
                  </a:lnTo>
                  <a:lnTo>
                    <a:pt x="2096" y="1061"/>
                  </a:lnTo>
                  <a:lnTo>
                    <a:pt x="2099" y="1061"/>
                  </a:lnTo>
                  <a:lnTo>
                    <a:pt x="2101" y="1062"/>
                  </a:lnTo>
                  <a:lnTo>
                    <a:pt x="2104" y="1064"/>
                  </a:lnTo>
                  <a:lnTo>
                    <a:pt x="2106" y="1068"/>
                  </a:lnTo>
                  <a:lnTo>
                    <a:pt x="2111" y="1080"/>
                  </a:lnTo>
                  <a:lnTo>
                    <a:pt x="2117" y="1089"/>
                  </a:lnTo>
                  <a:lnTo>
                    <a:pt x="2122" y="1097"/>
                  </a:lnTo>
                  <a:lnTo>
                    <a:pt x="2124" y="1099"/>
                  </a:lnTo>
                  <a:lnTo>
                    <a:pt x="2129" y="1098"/>
                  </a:lnTo>
                  <a:lnTo>
                    <a:pt x="2133" y="1095"/>
                  </a:lnTo>
                  <a:close/>
                  <a:moveTo>
                    <a:pt x="2505" y="920"/>
                  </a:moveTo>
                  <a:lnTo>
                    <a:pt x="2511" y="922"/>
                  </a:lnTo>
                  <a:lnTo>
                    <a:pt x="2516" y="924"/>
                  </a:lnTo>
                  <a:lnTo>
                    <a:pt x="2521" y="925"/>
                  </a:lnTo>
                  <a:lnTo>
                    <a:pt x="2526" y="926"/>
                  </a:lnTo>
                  <a:lnTo>
                    <a:pt x="2531" y="927"/>
                  </a:lnTo>
                  <a:lnTo>
                    <a:pt x="2534" y="928"/>
                  </a:lnTo>
                  <a:lnTo>
                    <a:pt x="2535" y="930"/>
                  </a:lnTo>
                  <a:lnTo>
                    <a:pt x="2535" y="931"/>
                  </a:lnTo>
                  <a:lnTo>
                    <a:pt x="2535" y="933"/>
                  </a:lnTo>
                  <a:lnTo>
                    <a:pt x="2535" y="935"/>
                  </a:lnTo>
                  <a:lnTo>
                    <a:pt x="2531" y="942"/>
                  </a:lnTo>
                  <a:lnTo>
                    <a:pt x="2527" y="946"/>
                  </a:lnTo>
                  <a:lnTo>
                    <a:pt x="2526" y="948"/>
                  </a:lnTo>
                  <a:lnTo>
                    <a:pt x="2526" y="950"/>
                  </a:lnTo>
                  <a:lnTo>
                    <a:pt x="2527" y="952"/>
                  </a:lnTo>
                  <a:lnTo>
                    <a:pt x="2528" y="955"/>
                  </a:lnTo>
                  <a:lnTo>
                    <a:pt x="2543" y="959"/>
                  </a:lnTo>
                  <a:lnTo>
                    <a:pt x="2557" y="965"/>
                  </a:lnTo>
                  <a:lnTo>
                    <a:pt x="2558" y="967"/>
                  </a:lnTo>
                  <a:lnTo>
                    <a:pt x="2561" y="968"/>
                  </a:lnTo>
                  <a:lnTo>
                    <a:pt x="2564" y="970"/>
                  </a:lnTo>
                  <a:lnTo>
                    <a:pt x="2568" y="971"/>
                  </a:lnTo>
                  <a:lnTo>
                    <a:pt x="2578" y="973"/>
                  </a:lnTo>
                  <a:lnTo>
                    <a:pt x="2588" y="974"/>
                  </a:lnTo>
                  <a:lnTo>
                    <a:pt x="2608" y="976"/>
                  </a:lnTo>
                  <a:lnTo>
                    <a:pt x="2616" y="976"/>
                  </a:lnTo>
                  <a:lnTo>
                    <a:pt x="2624" y="972"/>
                  </a:lnTo>
                  <a:lnTo>
                    <a:pt x="2638" y="961"/>
                  </a:lnTo>
                  <a:lnTo>
                    <a:pt x="2655" y="949"/>
                  </a:lnTo>
                  <a:lnTo>
                    <a:pt x="2666" y="939"/>
                  </a:lnTo>
                  <a:lnTo>
                    <a:pt x="2670" y="932"/>
                  </a:lnTo>
                  <a:lnTo>
                    <a:pt x="2675" y="924"/>
                  </a:lnTo>
                  <a:lnTo>
                    <a:pt x="2676" y="918"/>
                  </a:lnTo>
                  <a:lnTo>
                    <a:pt x="2676" y="913"/>
                  </a:lnTo>
                  <a:lnTo>
                    <a:pt x="2673" y="907"/>
                  </a:lnTo>
                  <a:lnTo>
                    <a:pt x="2668" y="900"/>
                  </a:lnTo>
                  <a:lnTo>
                    <a:pt x="2654" y="884"/>
                  </a:lnTo>
                  <a:lnTo>
                    <a:pt x="2642" y="870"/>
                  </a:lnTo>
                  <a:lnTo>
                    <a:pt x="2635" y="864"/>
                  </a:lnTo>
                  <a:lnTo>
                    <a:pt x="2629" y="861"/>
                  </a:lnTo>
                  <a:lnTo>
                    <a:pt x="2626" y="860"/>
                  </a:lnTo>
                  <a:lnTo>
                    <a:pt x="2624" y="859"/>
                  </a:lnTo>
                  <a:lnTo>
                    <a:pt x="2621" y="859"/>
                  </a:lnTo>
                  <a:lnTo>
                    <a:pt x="2619" y="860"/>
                  </a:lnTo>
                  <a:lnTo>
                    <a:pt x="2608" y="865"/>
                  </a:lnTo>
                  <a:lnTo>
                    <a:pt x="2595" y="869"/>
                  </a:lnTo>
                  <a:lnTo>
                    <a:pt x="2589" y="872"/>
                  </a:lnTo>
                  <a:lnTo>
                    <a:pt x="2583" y="873"/>
                  </a:lnTo>
                  <a:lnTo>
                    <a:pt x="2577" y="874"/>
                  </a:lnTo>
                  <a:lnTo>
                    <a:pt x="2570" y="874"/>
                  </a:lnTo>
                  <a:lnTo>
                    <a:pt x="2565" y="874"/>
                  </a:lnTo>
                  <a:lnTo>
                    <a:pt x="2558" y="872"/>
                  </a:lnTo>
                  <a:lnTo>
                    <a:pt x="2551" y="869"/>
                  </a:lnTo>
                  <a:lnTo>
                    <a:pt x="2545" y="866"/>
                  </a:lnTo>
                  <a:lnTo>
                    <a:pt x="2536" y="861"/>
                  </a:lnTo>
                  <a:lnTo>
                    <a:pt x="2532" y="859"/>
                  </a:lnTo>
                  <a:lnTo>
                    <a:pt x="2532" y="855"/>
                  </a:lnTo>
                  <a:lnTo>
                    <a:pt x="2531" y="845"/>
                  </a:lnTo>
                  <a:lnTo>
                    <a:pt x="2528" y="842"/>
                  </a:lnTo>
                  <a:lnTo>
                    <a:pt x="2525" y="840"/>
                  </a:lnTo>
                  <a:lnTo>
                    <a:pt x="2523" y="840"/>
                  </a:lnTo>
                  <a:lnTo>
                    <a:pt x="2521" y="840"/>
                  </a:lnTo>
                  <a:lnTo>
                    <a:pt x="2519" y="841"/>
                  </a:lnTo>
                  <a:lnTo>
                    <a:pt x="2516" y="843"/>
                  </a:lnTo>
                  <a:lnTo>
                    <a:pt x="2510" y="849"/>
                  </a:lnTo>
                  <a:lnTo>
                    <a:pt x="2504" y="856"/>
                  </a:lnTo>
                  <a:lnTo>
                    <a:pt x="2499" y="862"/>
                  </a:lnTo>
                  <a:lnTo>
                    <a:pt x="2496" y="869"/>
                  </a:lnTo>
                  <a:lnTo>
                    <a:pt x="2494" y="876"/>
                  </a:lnTo>
                  <a:lnTo>
                    <a:pt x="2492" y="881"/>
                  </a:lnTo>
                  <a:lnTo>
                    <a:pt x="2492" y="886"/>
                  </a:lnTo>
                  <a:lnTo>
                    <a:pt x="2493" y="888"/>
                  </a:lnTo>
                  <a:lnTo>
                    <a:pt x="2499" y="893"/>
                  </a:lnTo>
                  <a:lnTo>
                    <a:pt x="2511" y="898"/>
                  </a:lnTo>
                  <a:lnTo>
                    <a:pt x="2520" y="901"/>
                  </a:lnTo>
                  <a:lnTo>
                    <a:pt x="2525" y="902"/>
                  </a:lnTo>
                  <a:lnTo>
                    <a:pt x="2519" y="903"/>
                  </a:lnTo>
                  <a:lnTo>
                    <a:pt x="2506" y="906"/>
                  </a:lnTo>
                  <a:lnTo>
                    <a:pt x="2500" y="908"/>
                  </a:lnTo>
                  <a:lnTo>
                    <a:pt x="2495" y="910"/>
                  </a:lnTo>
                  <a:lnTo>
                    <a:pt x="2493" y="911"/>
                  </a:lnTo>
                  <a:lnTo>
                    <a:pt x="2492" y="912"/>
                  </a:lnTo>
                  <a:lnTo>
                    <a:pt x="2491" y="914"/>
                  </a:lnTo>
                  <a:lnTo>
                    <a:pt x="2491" y="915"/>
                  </a:lnTo>
                  <a:lnTo>
                    <a:pt x="2493" y="918"/>
                  </a:lnTo>
                  <a:lnTo>
                    <a:pt x="2495" y="920"/>
                  </a:lnTo>
                  <a:lnTo>
                    <a:pt x="2498" y="921"/>
                  </a:lnTo>
                  <a:lnTo>
                    <a:pt x="2500" y="921"/>
                  </a:lnTo>
                  <a:lnTo>
                    <a:pt x="2504" y="920"/>
                  </a:lnTo>
                  <a:lnTo>
                    <a:pt x="2505" y="920"/>
                  </a:lnTo>
                  <a:close/>
                  <a:moveTo>
                    <a:pt x="2830" y="1398"/>
                  </a:moveTo>
                  <a:lnTo>
                    <a:pt x="2823" y="1407"/>
                  </a:lnTo>
                  <a:lnTo>
                    <a:pt x="2810" y="1417"/>
                  </a:lnTo>
                  <a:lnTo>
                    <a:pt x="2803" y="1422"/>
                  </a:lnTo>
                  <a:lnTo>
                    <a:pt x="2796" y="1426"/>
                  </a:lnTo>
                  <a:lnTo>
                    <a:pt x="2793" y="1427"/>
                  </a:lnTo>
                  <a:lnTo>
                    <a:pt x="2790" y="1428"/>
                  </a:lnTo>
                  <a:lnTo>
                    <a:pt x="2788" y="1427"/>
                  </a:lnTo>
                  <a:lnTo>
                    <a:pt x="2786" y="1426"/>
                  </a:lnTo>
                  <a:lnTo>
                    <a:pt x="2779" y="1418"/>
                  </a:lnTo>
                  <a:lnTo>
                    <a:pt x="2770" y="1409"/>
                  </a:lnTo>
                  <a:lnTo>
                    <a:pt x="2766" y="1405"/>
                  </a:lnTo>
                  <a:lnTo>
                    <a:pt x="2764" y="1402"/>
                  </a:lnTo>
                  <a:lnTo>
                    <a:pt x="2764" y="1400"/>
                  </a:lnTo>
                  <a:lnTo>
                    <a:pt x="2764" y="1398"/>
                  </a:lnTo>
                  <a:lnTo>
                    <a:pt x="2765" y="1397"/>
                  </a:lnTo>
                  <a:lnTo>
                    <a:pt x="2766" y="1397"/>
                  </a:lnTo>
                  <a:lnTo>
                    <a:pt x="2775" y="1394"/>
                  </a:lnTo>
                  <a:lnTo>
                    <a:pt x="2783" y="1390"/>
                  </a:lnTo>
                  <a:lnTo>
                    <a:pt x="2785" y="1387"/>
                  </a:lnTo>
                  <a:lnTo>
                    <a:pt x="2787" y="1384"/>
                  </a:lnTo>
                  <a:lnTo>
                    <a:pt x="2788" y="1380"/>
                  </a:lnTo>
                  <a:lnTo>
                    <a:pt x="2787" y="1375"/>
                  </a:lnTo>
                  <a:lnTo>
                    <a:pt x="2782" y="1365"/>
                  </a:lnTo>
                  <a:lnTo>
                    <a:pt x="2775" y="1355"/>
                  </a:lnTo>
                  <a:lnTo>
                    <a:pt x="2773" y="1350"/>
                  </a:lnTo>
                  <a:lnTo>
                    <a:pt x="2770" y="1346"/>
                  </a:lnTo>
                  <a:lnTo>
                    <a:pt x="2769" y="1343"/>
                  </a:lnTo>
                  <a:lnTo>
                    <a:pt x="2769" y="1340"/>
                  </a:lnTo>
                  <a:lnTo>
                    <a:pt x="2771" y="1337"/>
                  </a:lnTo>
                  <a:lnTo>
                    <a:pt x="2776" y="1332"/>
                  </a:lnTo>
                  <a:lnTo>
                    <a:pt x="2781" y="1329"/>
                  </a:lnTo>
                  <a:lnTo>
                    <a:pt x="2787" y="1326"/>
                  </a:lnTo>
                  <a:lnTo>
                    <a:pt x="2798" y="1321"/>
                  </a:lnTo>
                  <a:lnTo>
                    <a:pt x="2803" y="1319"/>
                  </a:lnTo>
                  <a:lnTo>
                    <a:pt x="2806" y="1316"/>
                  </a:lnTo>
                  <a:lnTo>
                    <a:pt x="2813" y="1310"/>
                  </a:lnTo>
                  <a:lnTo>
                    <a:pt x="2818" y="1308"/>
                  </a:lnTo>
                  <a:lnTo>
                    <a:pt x="2821" y="1307"/>
                  </a:lnTo>
                  <a:lnTo>
                    <a:pt x="2823" y="1306"/>
                  </a:lnTo>
                  <a:lnTo>
                    <a:pt x="2824" y="1306"/>
                  </a:lnTo>
                  <a:lnTo>
                    <a:pt x="2825" y="1307"/>
                  </a:lnTo>
                  <a:lnTo>
                    <a:pt x="2825" y="1308"/>
                  </a:lnTo>
                  <a:lnTo>
                    <a:pt x="2831" y="1317"/>
                  </a:lnTo>
                  <a:lnTo>
                    <a:pt x="2836" y="1326"/>
                  </a:lnTo>
                  <a:lnTo>
                    <a:pt x="2834" y="1345"/>
                  </a:lnTo>
                  <a:lnTo>
                    <a:pt x="2832" y="1356"/>
                  </a:lnTo>
                  <a:lnTo>
                    <a:pt x="2832" y="1366"/>
                  </a:lnTo>
                  <a:lnTo>
                    <a:pt x="2832" y="1383"/>
                  </a:lnTo>
                  <a:lnTo>
                    <a:pt x="2832" y="1389"/>
                  </a:lnTo>
                  <a:lnTo>
                    <a:pt x="2831" y="1394"/>
                  </a:lnTo>
                  <a:lnTo>
                    <a:pt x="2830" y="1397"/>
                  </a:lnTo>
                  <a:lnTo>
                    <a:pt x="2830" y="1398"/>
                  </a:lnTo>
                  <a:close/>
                  <a:moveTo>
                    <a:pt x="2863" y="1380"/>
                  </a:moveTo>
                  <a:lnTo>
                    <a:pt x="2863" y="1392"/>
                  </a:lnTo>
                  <a:lnTo>
                    <a:pt x="2862" y="1399"/>
                  </a:lnTo>
                  <a:lnTo>
                    <a:pt x="2861" y="1404"/>
                  </a:lnTo>
                  <a:lnTo>
                    <a:pt x="2858" y="1407"/>
                  </a:lnTo>
                  <a:lnTo>
                    <a:pt x="2856" y="1408"/>
                  </a:lnTo>
                  <a:lnTo>
                    <a:pt x="2856" y="1409"/>
                  </a:lnTo>
                  <a:lnTo>
                    <a:pt x="2856" y="1410"/>
                  </a:lnTo>
                  <a:lnTo>
                    <a:pt x="2856" y="1412"/>
                  </a:lnTo>
                  <a:lnTo>
                    <a:pt x="2858" y="1414"/>
                  </a:lnTo>
                  <a:lnTo>
                    <a:pt x="2861" y="1419"/>
                  </a:lnTo>
                  <a:lnTo>
                    <a:pt x="2864" y="1422"/>
                  </a:lnTo>
                  <a:lnTo>
                    <a:pt x="2869" y="1425"/>
                  </a:lnTo>
                  <a:lnTo>
                    <a:pt x="2870" y="1426"/>
                  </a:lnTo>
                  <a:lnTo>
                    <a:pt x="2871" y="1427"/>
                  </a:lnTo>
                  <a:lnTo>
                    <a:pt x="2871" y="1429"/>
                  </a:lnTo>
                  <a:lnTo>
                    <a:pt x="2869" y="1432"/>
                  </a:lnTo>
                  <a:lnTo>
                    <a:pt x="2860" y="1440"/>
                  </a:lnTo>
                  <a:lnTo>
                    <a:pt x="2848" y="1451"/>
                  </a:lnTo>
                  <a:lnTo>
                    <a:pt x="2843" y="1455"/>
                  </a:lnTo>
                  <a:lnTo>
                    <a:pt x="2840" y="1459"/>
                  </a:lnTo>
                  <a:lnTo>
                    <a:pt x="2839" y="1461"/>
                  </a:lnTo>
                  <a:lnTo>
                    <a:pt x="2839" y="1463"/>
                  </a:lnTo>
                  <a:lnTo>
                    <a:pt x="2840" y="1464"/>
                  </a:lnTo>
                  <a:lnTo>
                    <a:pt x="2842" y="1466"/>
                  </a:lnTo>
                  <a:lnTo>
                    <a:pt x="2848" y="1468"/>
                  </a:lnTo>
                  <a:lnTo>
                    <a:pt x="2856" y="1469"/>
                  </a:lnTo>
                  <a:lnTo>
                    <a:pt x="2866" y="1468"/>
                  </a:lnTo>
                  <a:lnTo>
                    <a:pt x="2876" y="1466"/>
                  </a:lnTo>
                  <a:lnTo>
                    <a:pt x="2894" y="1462"/>
                  </a:lnTo>
                  <a:lnTo>
                    <a:pt x="2901" y="1460"/>
                  </a:lnTo>
                  <a:lnTo>
                    <a:pt x="2908" y="1460"/>
                  </a:lnTo>
                  <a:lnTo>
                    <a:pt x="2921" y="1460"/>
                  </a:lnTo>
                  <a:lnTo>
                    <a:pt x="2929" y="1459"/>
                  </a:lnTo>
                  <a:lnTo>
                    <a:pt x="2936" y="1458"/>
                  </a:lnTo>
                  <a:lnTo>
                    <a:pt x="2941" y="1456"/>
                  </a:lnTo>
                  <a:lnTo>
                    <a:pt x="2944" y="1454"/>
                  </a:lnTo>
                  <a:lnTo>
                    <a:pt x="2943" y="1438"/>
                  </a:lnTo>
                  <a:lnTo>
                    <a:pt x="2943" y="1424"/>
                  </a:lnTo>
                  <a:lnTo>
                    <a:pt x="2946" y="1418"/>
                  </a:lnTo>
                  <a:lnTo>
                    <a:pt x="2950" y="1413"/>
                  </a:lnTo>
                  <a:lnTo>
                    <a:pt x="2951" y="1409"/>
                  </a:lnTo>
                  <a:lnTo>
                    <a:pt x="2951" y="1404"/>
                  </a:lnTo>
                  <a:lnTo>
                    <a:pt x="2949" y="1393"/>
                  </a:lnTo>
                  <a:lnTo>
                    <a:pt x="2944" y="1377"/>
                  </a:lnTo>
                  <a:lnTo>
                    <a:pt x="2941" y="1370"/>
                  </a:lnTo>
                  <a:lnTo>
                    <a:pt x="2938" y="1362"/>
                  </a:lnTo>
                  <a:lnTo>
                    <a:pt x="2934" y="1355"/>
                  </a:lnTo>
                  <a:lnTo>
                    <a:pt x="2930" y="1350"/>
                  </a:lnTo>
                  <a:lnTo>
                    <a:pt x="2923" y="1345"/>
                  </a:lnTo>
                  <a:lnTo>
                    <a:pt x="2915" y="1334"/>
                  </a:lnTo>
                  <a:lnTo>
                    <a:pt x="2906" y="1322"/>
                  </a:lnTo>
                  <a:lnTo>
                    <a:pt x="2895" y="1307"/>
                  </a:lnTo>
                  <a:lnTo>
                    <a:pt x="2886" y="1294"/>
                  </a:lnTo>
                  <a:lnTo>
                    <a:pt x="2878" y="1282"/>
                  </a:lnTo>
                  <a:lnTo>
                    <a:pt x="2874" y="1274"/>
                  </a:lnTo>
                  <a:lnTo>
                    <a:pt x="2873" y="1271"/>
                  </a:lnTo>
                  <a:lnTo>
                    <a:pt x="2879" y="1266"/>
                  </a:lnTo>
                  <a:lnTo>
                    <a:pt x="2889" y="1259"/>
                  </a:lnTo>
                  <a:lnTo>
                    <a:pt x="2892" y="1255"/>
                  </a:lnTo>
                  <a:lnTo>
                    <a:pt x="2895" y="1250"/>
                  </a:lnTo>
                  <a:lnTo>
                    <a:pt x="2895" y="1247"/>
                  </a:lnTo>
                  <a:lnTo>
                    <a:pt x="2895" y="1244"/>
                  </a:lnTo>
                  <a:lnTo>
                    <a:pt x="2894" y="1242"/>
                  </a:lnTo>
                  <a:lnTo>
                    <a:pt x="2892" y="1239"/>
                  </a:lnTo>
                  <a:lnTo>
                    <a:pt x="2887" y="1235"/>
                  </a:lnTo>
                  <a:lnTo>
                    <a:pt x="2880" y="1232"/>
                  </a:lnTo>
                  <a:lnTo>
                    <a:pt x="2875" y="1229"/>
                  </a:lnTo>
                  <a:lnTo>
                    <a:pt x="2870" y="1225"/>
                  </a:lnTo>
                  <a:lnTo>
                    <a:pt x="2865" y="1223"/>
                  </a:lnTo>
                  <a:lnTo>
                    <a:pt x="2862" y="1221"/>
                  </a:lnTo>
                  <a:lnTo>
                    <a:pt x="2860" y="1219"/>
                  </a:lnTo>
                  <a:lnTo>
                    <a:pt x="2858" y="1217"/>
                  </a:lnTo>
                  <a:lnTo>
                    <a:pt x="2864" y="1205"/>
                  </a:lnTo>
                  <a:lnTo>
                    <a:pt x="2868" y="1197"/>
                  </a:lnTo>
                  <a:lnTo>
                    <a:pt x="2861" y="1193"/>
                  </a:lnTo>
                  <a:lnTo>
                    <a:pt x="2852" y="1188"/>
                  </a:lnTo>
                  <a:lnTo>
                    <a:pt x="2845" y="1191"/>
                  </a:lnTo>
                  <a:lnTo>
                    <a:pt x="2834" y="1196"/>
                  </a:lnTo>
                  <a:lnTo>
                    <a:pt x="2831" y="1199"/>
                  </a:lnTo>
                  <a:lnTo>
                    <a:pt x="2827" y="1201"/>
                  </a:lnTo>
                  <a:lnTo>
                    <a:pt x="2824" y="1202"/>
                  </a:lnTo>
                  <a:lnTo>
                    <a:pt x="2820" y="1201"/>
                  </a:lnTo>
                  <a:lnTo>
                    <a:pt x="2813" y="1200"/>
                  </a:lnTo>
                  <a:lnTo>
                    <a:pt x="2808" y="1201"/>
                  </a:lnTo>
                  <a:lnTo>
                    <a:pt x="2803" y="1203"/>
                  </a:lnTo>
                  <a:lnTo>
                    <a:pt x="2801" y="1205"/>
                  </a:lnTo>
                  <a:lnTo>
                    <a:pt x="2804" y="1208"/>
                  </a:lnTo>
                  <a:lnTo>
                    <a:pt x="2810" y="1214"/>
                  </a:lnTo>
                  <a:lnTo>
                    <a:pt x="2813" y="1218"/>
                  </a:lnTo>
                  <a:lnTo>
                    <a:pt x="2817" y="1222"/>
                  </a:lnTo>
                  <a:lnTo>
                    <a:pt x="2819" y="1225"/>
                  </a:lnTo>
                  <a:lnTo>
                    <a:pt x="2819" y="1228"/>
                  </a:lnTo>
                  <a:lnTo>
                    <a:pt x="2810" y="1238"/>
                  </a:lnTo>
                  <a:lnTo>
                    <a:pt x="2803" y="1246"/>
                  </a:lnTo>
                  <a:lnTo>
                    <a:pt x="2810" y="1251"/>
                  </a:lnTo>
                  <a:lnTo>
                    <a:pt x="2818" y="1255"/>
                  </a:lnTo>
                  <a:lnTo>
                    <a:pt x="2817" y="1260"/>
                  </a:lnTo>
                  <a:lnTo>
                    <a:pt x="2815" y="1265"/>
                  </a:lnTo>
                  <a:lnTo>
                    <a:pt x="2819" y="1264"/>
                  </a:lnTo>
                  <a:lnTo>
                    <a:pt x="2825" y="1262"/>
                  </a:lnTo>
                  <a:lnTo>
                    <a:pt x="2828" y="1262"/>
                  </a:lnTo>
                  <a:lnTo>
                    <a:pt x="2830" y="1263"/>
                  </a:lnTo>
                  <a:lnTo>
                    <a:pt x="2831" y="1264"/>
                  </a:lnTo>
                  <a:lnTo>
                    <a:pt x="2831" y="1267"/>
                  </a:lnTo>
                  <a:lnTo>
                    <a:pt x="2829" y="1271"/>
                  </a:lnTo>
                  <a:lnTo>
                    <a:pt x="2827" y="1273"/>
                  </a:lnTo>
                  <a:lnTo>
                    <a:pt x="2825" y="1273"/>
                  </a:lnTo>
                  <a:lnTo>
                    <a:pt x="2824" y="1274"/>
                  </a:lnTo>
                  <a:lnTo>
                    <a:pt x="2822" y="1274"/>
                  </a:lnTo>
                  <a:lnTo>
                    <a:pt x="2821" y="1274"/>
                  </a:lnTo>
                  <a:lnTo>
                    <a:pt x="2821" y="1276"/>
                  </a:lnTo>
                  <a:lnTo>
                    <a:pt x="2821" y="1278"/>
                  </a:lnTo>
                  <a:lnTo>
                    <a:pt x="2825" y="1287"/>
                  </a:lnTo>
                  <a:lnTo>
                    <a:pt x="2827" y="1293"/>
                  </a:lnTo>
                  <a:lnTo>
                    <a:pt x="2835" y="1297"/>
                  </a:lnTo>
                  <a:lnTo>
                    <a:pt x="2846" y="1303"/>
                  </a:lnTo>
                  <a:lnTo>
                    <a:pt x="2847" y="1305"/>
                  </a:lnTo>
                  <a:lnTo>
                    <a:pt x="2848" y="1305"/>
                  </a:lnTo>
                  <a:lnTo>
                    <a:pt x="2849" y="1306"/>
                  </a:lnTo>
                  <a:lnTo>
                    <a:pt x="2851" y="1305"/>
                  </a:lnTo>
                  <a:lnTo>
                    <a:pt x="2853" y="1306"/>
                  </a:lnTo>
                  <a:lnTo>
                    <a:pt x="2854" y="1306"/>
                  </a:lnTo>
                  <a:lnTo>
                    <a:pt x="2855" y="1309"/>
                  </a:lnTo>
                  <a:lnTo>
                    <a:pt x="2855" y="1313"/>
                  </a:lnTo>
                  <a:lnTo>
                    <a:pt x="2853" y="1322"/>
                  </a:lnTo>
                  <a:lnTo>
                    <a:pt x="2852" y="1329"/>
                  </a:lnTo>
                  <a:lnTo>
                    <a:pt x="2852" y="1332"/>
                  </a:lnTo>
                  <a:lnTo>
                    <a:pt x="2852" y="1334"/>
                  </a:lnTo>
                  <a:lnTo>
                    <a:pt x="2852" y="1337"/>
                  </a:lnTo>
                  <a:lnTo>
                    <a:pt x="2854" y="1338"/>
                  </a:lnTo>
                  <a:lnTo>
                    <a:pt x="2860" y="1338"/>
                  </a:lnTo>
                  <a:lnTo>
                    <a:pt x="2868" y="1338"/>
                  </a:lnTo>
                  <a:lnTo>
                    <a:pt x="2872" y="1338"/>
                  </a:lnTo>
                  <a:lnTo>
                    <a:pt x="2875" y="1338"/>
                  </a:lnTo>
                  <a:lnTo>
                    <a:pt x="2878" y="1340"/>
                  </a:lnTo>
                  <a:lnTo>
                    <a:pt x="2879" y="1342"/>
                  </a:lnTo>
                  <a:lnTo>
                    <a:pt x="2879" y="1345"/>
                  </a:lnTo>
                  <a:lnTo>
                    <a:pt x="2878" y="1349"/>
                  </a:lnTo>
                  <a:lnTo>
                    <a:pt x="2875" y="1354"/>
                  </a:lnTo>
                  <a:lnTo>
                    <a:pt x="2873" y="1359"/>
                  </a:lnTo>
                  <a:lnTo>
                    <a:pt x="2868" y="1366"/>
                  </a:lnTo>
                  <a:lnTo>
                    <a:pt x="2865" y="1368"/>
                  </a:lnTo>
                  <a:lnTo>
                    <a:pt x="2864" y="1374"/>
                  </a:lnTo>
                  <a:lnTo>
                    <a:pt x="2863" y="1380"/>
                  </a:lnTo>
                  <a:close/>
                </a:path>
              </a:pathLst>
            </a:custGeom>
            <a:gradFill flip="none" rotWithShape="1">
              <a:gsLst>
                <a:gs pos="100000">
                  <a:schemeClr val="accent1">
                    <a:lumMod val="50000"/>
                  </a:schemeClr>
                </a:gs>
                <a:gs pos="36000">
                  <a:srgbClr val="26628D"/>
                </a:gs>
              </a:gsLst>
              <a:path path="circle">
                <a:fillToRect l="50000" t="50000" r="50000" b="50000"/>
              </a:path>
              <a:tileRect/>
            </a:gradFill>
            <a:ln w="9525">
              <a:noFill/>
              <a:miter lim="800000"/>
              <a:headEnd/>
              <a:tailEnd/>
            </a:ln>
            <a:effectLst>
              <a:outerShdw blurRad="38100" dist="25400" dir="5400000" algn="t" rotWithShape="0">
                <a:prstClr val="black">
                  <a:alpha val="26000"/>
                </a:prstClr>
              </a:outerShdw>
            </a:effectLst>
          </p:spPr>
          <p:txBody>
            <a:bodyPr anchor="ctr"/>
            <a:lstStyle/>
            <a:p>
              <a:pPr algn="ctr"/>
              <a:endParaRPr lang="en-US" u="sng" dirty="0">
                <a:solidFill>
                  <a:srgbClr val="FFFFFF"/>
                </a:solidFill>
                <a:latin typeface="Calibri" charset="0"/>
                <a:ea typeface="ＭＳ Ｐゴシック" charset="-128"/>
              </a:endParaRPr>
            </a:p>
          </p:txBody>
        </p:sp>
        <p:sp>
          <p:nvSpPr>
            <p:cNvPr id="8" name="Ellipse 45"/>
            <p:cNvSpPr>
              <a:spLocks noChangeArrowheads="1"/>
            </p:cNvSpPr>
            <p:nvPr>
              <p:custDataLst>
                <p:tags r:id="rId13"/>
              </p:custDataLst>
            </p:nvPr>
          </p:nvSpPr>
          <p:spPr bwMode="auto">
            <a:xfrm rot="21374326" flipH="1">
              <a:off x="3152603" y="1967445"/>
              <a:ext cx="2633360" cy="2048147"/>
            </a:xfrm>
            <a:prstGeom prst="ellipse">
              <a:avLst/>
            </a:prstGeom>
            <a:gradFill rotWithShape="1">
              <a:gsLst>
                <a:gs pos="0">
                  <a:srgbClr val="FFFCF9">
                    <a:alpha val="58000"/>
                  </a:srgbClr>
                </a:gs>
                <a:gs pos="73000">
                  <a:srgbClr val="FFFFFF">
                    <a:alpha val="0"/>
                  </a:srgbClr>
                </a:gs>
              </a:gsLst>
              <a:lin ang="5400000"/>
            </a:gradFill>
            <a:ln w="9525">
              <a:noFill/>
              <a:round/>
              <a:headEnd/>
              <a:tailEnd/>
            </a:ln>
            <a:effectLst>
              <a:softEdge rad="50800"/>
            </a:effectLst>
          </p:spPr>
          <p:txBody>
            <a:bodyPr anchor="ctr"/>
            <a:lstStyle>
              <a:lvl1pPr>
                <a:defRPr>
                  <a:solidFill>
                    <a:schemeClr val="tx1"/>
                  </a:solidFill>
                  <a:latin typeface="Calibri" charset="0"/>
                  <a:ea typeface="ＭＳ Ｐゴシック" charset="-128"/>
                </a:defRPr>
              </a:lvl1pPr>
              <a:lvl2pPr marL="37931725" indent="-37474525">
                <a:defRPr>
                  <a:solidFill>
                    <a:schemeClr val="tx1"/>
                  </a:solidFill>
                  <a:latin typeface="Calibri" charset="0"/>
                  <a:ea typeface="ＭＳ Ｐゴシック" charset="-128"/>
                </a:defRPr>
              </a:lvl2pPr>
              <a:lvl3pPr>
                <a:defRPr>
                  <a:solidFill>
                    <a:schemeClr val="tx1"/>
                  </a:solidFill>
                  <a:latin typeface="Calibri" charset="0"/>
                  <a:ea typeface="ＭＳ Ｐゴシック" charset="-128"/>
                </a:defRPr>
              </a:lvl3pPr>
              <a:lvl4pPr>
                <a:defRPr>
                  <a:solidFill>
                    <a:schemeClr val="tx1"/>
                  </a:solidFill>
                  <a:latin typeface="Calibri" charset="0"/>
                  <a:ea typeface="ＭＳ Ｐゴシック" charset="-128"/>
                </a:defRPr>
              </a:lvl4pPr>
              <a:lvl5pPr>
                <a:defRPr>
                  <a:solidFill>
                    <a:schemeClr val="tx1"/>
                  </a:solidFill>
                  <a:latin typeface="Calibri" charset="0"/>
                  <a:ea typeface="ＭＳ Ｐゴシック" charset="-128"/>
                </a:defRPr>
              </a:lvl5pPr>
              <a:lvl6pPr marL="457200" fontAlgn="base">
                <a:spcBef>
                  <a:spcPct val="0"/>
                </a:spcBef>
                <a:spcAft>
                  <a:spcPct val="0"/>
                </a:spcAft>
                <a:defRPr>
                  <a:solidFill>
                    <a:schemeClr val="tx1"/>
                  </a:solidFill>
                  <a:latin typeface="Calibri" charset="0"/>
                  <a:ea typeface="ＭＳ Ｐゴシック" charset="-128"/>
                </a:defRPr>
              </a:lvl6pPr>
              <a:lvl7pPr marL="914400" fontAlgn="base">
                <a:spcBef>
                  <a:spcPct val="0"/>
                </a:spcBef>
                <a:spcAft>
                  <a:spcPct val="0"/>
                </a:spcAft>
                <a:defRPr>
                  <a:solidFill>
                    <a:schemeClr val="tx1"/>
                  </a:solidFill>
                  <a:latin typeface="Calibri" charset="0"/>
                  <a:ea typeface="ＭＳ Ｐゴシック" charset="-128"/>
                </a:defRPr>
              </a:lvl7pPr>
              <a:lvl8pPr marL="1371600" fontAlgn="base">
                <a:spcBef>
                  <a:spcPct val="0"/>
                </a:spcBef>
                <a:spcAft>
                  <a:spcPct val="0"/>
                </a:spcAft>
                <a:defRPr>
                  <a:solidFill>
                    <a:schemeClr val="tx1"/>
                  </a:solidFill>
                  <a:latin typeface="Calibri" charset="0"/>
                  <a:ea typeface="ＭＳ Ｐゴシック" charset="-128"/>
                </a:defRPr>
              </a:lvl8pPr>
              <a:lvl9pPr marL="1828800" fontAlgn="base">
                <a:spcBef>
                  <a:spcPct val="0"/>
                </a:spcBef>
                <a:spcAft>
                  <a:spcPct val="0"/>
                </a:spcAft>
                <a:defRPr>
                  <a:solidFill>
                    <a:schemeClr val="tx1"/>
                  </a:solidFill>
                  <a:latin typeface="Calibri" charset="0"/>
                  <a:ea typeface="ＭＳ Ｐゴシック" charset="-128"/>
                </a:defRPr>
              </a:lvl9pPr>
            </a:lstStyle>
            <a:p>
              <a:pPr algn="ctr">
                <a:defRPr/>
              </a:pPr>
              <a:endParaRPr lang="en-US" u="sng" dirty="0" smtClean="0">
                <a:solidFill>
                  <a:srgbClr val="FFFFFF"/>
                </a:solidFill>
              </a:endParaRPr>
            </a:p>
          </p:txBody>
        </p:sp>
      </p:grpSp>
      <p:pic>
        <p:nvPicPr>
          <p:cNvPr id="48" name="Picture 47"/>
          <p:cNvPicPr>
            <a:picLocks noChangeAspect="1"/>
          </p:cNvPicPr>
          <p:nvPr/>
        </p:nvPicPr>
        <p:blipFill>
          <a:blip r:embed="rId18"/>
          <a:stretch>
            <a:fillRect/>
          </a:stretch>
        </p:blipFill>
        <p:spPr>
          <a:xfrm>
            <a:off x="947463" y="2372443"/>
            <a:ext cx="1760802" cy="701570"/>
          </a:xfrm>
          <a:prstGeom prst="rect">
            <a:avLst/>
          </a:prstGeom>
        </p:spPr>
      </p:pic>
      <p:sp>
        <p:nvSpPr>
          <p:cNvPr id="63" name="TextBox 62"/>
          <p:cNvSpPr txBox="1"/>
          <p:nvPr/>
        </p:nvSpPr>
        <p:spPr>
          <a:xfrm>
            <a:off x="6829429" y="1071403"/>
            <a:ext cx="1918631" cy="276999"/>
          </a:xfrm>
          <a:prstGeom prst="rect">
            <a:avLst/>
          </a:prstGeom>
          <a:noFill/>
        </p:spPr>
        <p:txBody>
          <a:bodyPr wrap="square" lIns="0" tIns="0" rIns="0" bIns="0" rtlCol="0" anchor="b">
            <a:spAutoFit/>
          </a:bodyPr>
          <a:lstStyle/>
          <a:p>
            <a:r>
              <a:rPr lang="en-US" b="1" dirty="0" smtClean="0">
                <a:solidFill>
                  <a:prstClr val="black"/>
                </a:solidFill>
                <a:latin typeface="Calibri"/>
              </a:rPr>
              <a:t>Sample Processing</a:t>
            </a:r>
            <a:endParaRPr lang="en-US" dirty="0">
              <a:solidFill>
                <a:prstClr val="black"/>
              </a:solidFill>
              <a:latin typeface="Calibri"/>
            </a:endParaRPr>
          </a:p>
        </p:txBody>
      </p:sp>
      <p:sp>
        <p:nvSpPr>
          <p:cNvPr id="14" name="Freeform 13"/>
          <p:cNvSpPr/>
          <p:nvPr/>
        </p:nvSpPr>
        <p:spPr>
          <a:xfrm flipH="1">
            <a:off x="1079475" y="5470656"/>
            <a:ext cx="111761" cy="785390"/>
          </a:xfrm>
          <a:custGeom>
            <a:avLst/>
            <a:gdLst>
              <a:gd name="connsiteX0" fmla="*/ 17558 w 17558"/>
              <a:gd name="connsiteY0" fmla="*/ 491634 h 491634"/>
              <a:gd name="connsiteX1" fmla="*/ 0 w 17558"/>
              <a:gd name="connsiteY1" fmla="*/ 0 h 491634"/>
            </a:gdLst>
            <a:ahLst/>
            <a:cxnLst>
              <a:cxn ang="0">
                <a:pos x="connsiteX0" y="connsiteY0"/>
              </a:cxn>
              <a:cxn ang="0">
                <a:pos x="connsiteX1" y="connsiteY1"/>
              </a:cxn>
            </a:cxnLst>
            <a:rect l="l" t="t" r="r" b="b"/>
            <a:pathLst>
              <a:path w="17558" h="491634">
                <a:moveTo>
                  <a:pt x="17558" y="491634"/>
                </a:moveTo>
                <a:lnTo>
                  <a:pt x="0" y="0"/>
                </a:lnTo>
              </a:path>
            </a:pathLst>
          </a:custGeom>
          <a:ln>
            <a:solidFill>
              <a:srgbClr val="ED9901"/>
            </a:solidFill>
            <a:prstDash val="sys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prstClr val="black"/>
              </a:solidFill>
              <a:latin typeface="Calibri"/>
            </a:endParaRPr>
          </a:p>
        </p:txBody>
      </p:sp>
      <p:sp>
        <p:nvSpPr>
          <p:cNvPr id="37" name="Freeform 36"/>
          <p:cNvSpPr/>
          <p:nvPr/>
        </p:nvSpPr>
        <p:spPr>
          <a:xfrm>
            <a:off x="1492250" y="3017454"/>
            <a:ext cx="251833" cy="743304"/>
          </a:xfrm>
          <a:custGeom>
            <a:avLst/>
            <a:gdLst>
              <a:gd name="connsiteX0" fmla="*/ 0 w 275073"/>
              <a:gd name="connsiteY0" fmla="*/ 1012532 h 1012532"/>
              <a:gd name="connsiteX1" fmla="*/ 70231 w 275073"/>
              <a:gd name="connsiteY1" fmla="*/ 561868 h 1012532"/>
              <a:gd name="connsiteX2" fmla="*/ 275073 w 275073"/>
              <a:gd name="connsiteY2" fmla="*/ 0 h 1012532"/>
            </a:gdLst>
            <a:ahLst/>
            <a:cxnLst>
              <a:cxn ang="0">
                <a:pos x="connsiteX0" y="connsiteY0"/>
              </a:cxn>
              <a:cxn ang="0">
                <a:pos x="connsiteX1" y="connsiteY1"/>
              </a:cxn>
              <a:cxn ang="0">
                <a:pos x="connsiteX2" y="connsiteY2"/>
              </a:cxn>
            </a:cxnLst>
            <a:rect l="l" t="t" r="r" b="b"/>
            <a:pathLst>
              <a:path w="275073" h="1012532">
                <a:moveTo>
                  <a:pt x="0" y="1012532"/>
                </a:moveTo>
                <a:cubicBezTo>
                  <a:pt x="12193" y="871577"/>
                  <a:pt x="24386" y="730623"/>
                  <a:pt x="70231" y="561868"/>
                </a:cubicBezTo>
                <a:cubicBezTo>
                  <a:pt x="116077" y="393113"/>
                  <a:pt x="275073" y="0"/>
                  <a:pt x="275073" y="0"/>
                </a:cubicBezTo>
              </a:path>
            </a:pathLst>
          </a:custGeom>
          <a:ln>
            <a:solidFill>
              <a:srgbClr val="ED9901"/>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prstClr val="black"/>
              </a:solidFill>
              <a:latin typeface="Calibri"/>
            </a:endParaRPr>
          </a:p>
        </p:txBody>
      </p:sp>
      <p:sp>
        <p:nvSpPr>
          <p:cNvPr id="86" name="Rectangle 85"/>
          <p:cNvSpPr/>
          <p:nvPr/>
        </p:nvSpPr>
        <p:spPr>
          <a:xfrm>
            <a:off x="6798690" y="3677479"/>
            <a:ext cx="2084480" cy="7428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US" sz="1000" dirty="0" smtClean="0">
                <a:solidFill>
                  <a:prstClr val="black"/>
                </a:solidFill>
                <a:latin typeface="Calibri" charset="0"/>
                <a:ea typeface="ＭＳ Ｐゴシック" charset="0"/>
                <a:cs typeface="ＭＳ Ｐゴシック" charset="0"/>
              </a:rPr>
              <a:t>Data returned to GeneLab for analysis. Raw data uploaded into GeneLab database for pubic viewing.</a:t>
            </a:r>
            <a:endParaRPr lang="en-US" sz="1000" dirty="0">
              <a:solidFill>
                <a:prstClr val="black"/>
              </a:solidFill>
              <a:latin typeface="Calibri" charset="0"/>
              <a:ea typeface="ＭＳ Ｐゴシック" charset="0"/>
              <a:cs typeface="ＭＳ Ｐゴシック" charset="0"/>
            </a:endParaRPr>
          </a:p>
        </p:txBody>
      </p:sp>
      <p:sp>
        <p:nvSpPr>
          <p:cNvPr id="88" name="Rectangle 87"/>
          <p:cNvSpPr/>
          <p:nvPr/>
        </p:nvSpPr>
        <p:spPr>
          <a:xfrm>
            <a:off x="5690223" y="5489342"/>
            <a:ext cx="2084480" cy="7428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US" sz="1000" dirty="0" smtClean="0">
                <a:solidFill>
                  <a:prstClr val="black"/>
                </a:solidFill>
                <a:latin typeface="Calibri" charset="0"/>
                <a:ea typeface="ＭＳ Ｐゴシック" charset="0"/>
                <a:cs typeface="ＭＳ Ｐゴシック" charset="0"/>
              </a:rPr>
              <a:t>Wetlab validation and computational  modeling </a:t>
            </a:r>
            <a:endParaRPr lang="en-US" sz="1000" dirty="0">
              <a:solidFill>
                <a:prstClr val="black"/>
              </a:solidFill>
              <a:latin typeface="Calibri" charset="0"/>
              <a:ea typeface="ＭＳ Ｐゴシック" charset="0"/>
              <a:cs typeface="ＭＳ Ｐゴシック" charset="0"/>
            </a:endParaRPr>
          </a:p>
        </p:txBody>
      </p:sp>
      <p:pic>
        <p:nvPicPr>
          <p:cNvPr id="12" name="Picture 11"/>
          <p:cNvPicPr>
            <a:picLocks noChangeAspect="1"/>
          </p:cNvPicPr>
          <p:nvPr/>
        </p:nvPicPr>
        <p:blipFill>
          <a:blip r:embed="rId19"/>
          <a:stretch>
            <a:fillRect/>
          </a:stretch>
        </p:blipFill>
        <p:spPr>
          <a:xfrm rot="278382">
            <a:off x="6295903" y="1584905"/>
            <a:ext cx="276713" cy="845951"/>
          </a:xfrm>
          <a:prstGeom prst="rect">
            <a:avLst/>
          </a:prstGeom>
        </p:spPr>
      </p:pic>
      <p:pic>
        <p:nvPicPr>
          <p:cNvPr id="15" name="Picture 14"/>
          <p:cNvPicPr>
            <a:picLocks noChangeAspect="1"/>
          </p:cNvPicPr>
          <p:nvPr/>
        </p:nvPicPr>
        <p:blipFill>
          <a:blip r:embed="rId20"/>
          <a:stretch>
            <a:fillRect/>
          </a:stretch>
        </p:blipFill>
        <p:spPr>
          <a:xfrm>
            <a:off x="3933461" y="1837518"/>
            <a:ext cx="793750" cy="793750"/>
          </a:xfrm>
          <a:prstGeom prst="rect">
            <a:avLst/>
          </a:prstGeom>
        </p:spPr>
      </p:pic>
      <p:sp>
        <p:nvSpPr>
          <p:cNvPr id="54" name="TextBox 53"/>
          <p:cNvSpPr txBox="1"/>
          <p:nvPr/>
        </p:nvSpPr>
        <p:spPr>
          <a:xfrm>
            <a:off x="3325767" y="862111"/>
            <a:ext cx="1708692" cy="276999"/>
          </a:xfrm>
          <a:prstGeom prst="rect">
            <a:avLst/>
          </a:prstGeom>
          <a:noFill/>
        </p:spPr>
        <p:txBody>
          <a:bodyPr wrap="square" lIns="0" tIns="0" rIns="0" bIns="0" rtlCol="0" anchor="b">
            <a:spAutoFit/>
          </a:bodyPr>
          <a:lstStyle/>
          <a:p>
            <a:r>
              <a:rPr lang="en-US" b="1" dirty="0" smtClean="0">
                <a:solidFill>
                  <a:prstClr val="black"/>
                </a:solidFill>
                <a:latin typeface="Calibri"/>
              </a:rPr>
              <a:t>Return to Earth</a:t>
            </a:r>
            <a:endParaRPr lang="en-US" dirty="0">
              <a:solidFill>
                <a:prstClr val="black"/>
              </a:solidFill>
              <a:latin typeface="Calibri"/>
            </a:endParaRPr>
          </a:p>
        </p:txBody>
      </p:sp>
      <p:cxnSp>
        <p:nvCxnSpPr>
          <p:cNvPr id="56" name="Straight Connector 55"/>
          <p:cNvCxnSpPr/>
          <p:nvPr>
            <p:custDataLst>
              <p:tags r:id="rId5"/>
            </p:custDataLst>
          </p:nvPr>
        </p:nvCxnSpPr>
        <p:spPr>
          <a:xfrm>
            <a:off x="6847677" y="1370657"/>
            <a:ext cx="1900384" cy="0"/>
          </a:xfrm>
          <a:prstGeom prst="line">
            <a:avLst/>
          </a:prstGeom>
          <a:ln w="3175">
            <a:solidFill>
              <a:schemeClr val="tx2">
                <a:lumMod val="60000"/>
                <a:lumOff val="40000"/>
              </a:schemeClr>
            </a:solidFill>
            <a:headEnd type="oval" w="sm" len="sm"/>
            <a:tailEnd type="oval" w="sm" len="sm"/>
          </a:ln>
          <a:effectLst/>
        </p:spPr>
        <p:style>
          <a:lnRef idx="2">
            <a:schemeClr val="accent1"/>
          </a:lnRef>
          <a:fillRef idx="0">
            <a:schemeClr val="accent1"/>
          </a:fillRef>
          <a:effectRef idx="1">
            <a:schemeClr val="accent1"/>
          </a:effectRef>
          <a:fontRef idx="minor">
            <a:schemeClr val="tx1"/>
          </a:fontRef>
        </p:style>
      </p:cxnSp>
      <p:pic>
        <p:nvPicPr>
          <p:cNvPr id="20" name="Picture 19"/>
          <p:cNvPicPr>
            <a:picLocks noChangeAspect="1"/>
          </p:cNvPicPr>
          <p:nvPr/>
        </p:nvPicPr>
        <p:blipFill>
          <a:blip r:embed="rId21"/>
          <a:stretch>
            <a:fillRect/>
          </a:stretch>
        </p:blipFill>
        <p:spPr>
          <a:xfrm>
            <a:off x="7149490" y="2659000"/>
            <a:ext cx="1229180" cy="933266"/>
          </a:xfrm>
          <a:prstGeom prst="rect">
            <a:avLst/>
          </a:prstGeom>
        </p:spPr>
      </p:pic>
      <p:sp>
        <p:nvSpPr>
          <p:cNvPr id="21" name="Freeform 20"/>
          <p:cNvSpPr/>
          <p:nvPr/>
        </p:nvSpPr>
        <p:spPr>
          <a:xfrm>
            <a:off x="2775641" y="2039156"/>
            <a:ext cx="835173" cy="423351"/>
          </a:xfrm>
          <a:custGeom>
            <a:avLst/>
            <a:gdLst>
              <a:gd name="connsiteX0" fmla="*/ 0 w 835173"/>
              <a:gd name="connsiteY0" fmla="*/ 423351 h 423351"/>
              <a:gd name="connsiteX1" fmla="*/ 331781 w 835173"/>
              <a:gd name="connsiteY1" fmla="*/ 148745 h 423351"/>
              <a:gd name="connsiteX2" fmla="*/ 835173 w 835173"/>
              <a:gd name="connsiteY2" fmla="*/ 0 h 423351"/>
              <a:gd name="connsiteX3" fmla="*/ 835173 w 835173"/>
              <a:gd name="connsiteY3" fmla="*/ 0 h 423351"/>
            </a:gdLst>
            <a:ahLst/>
            <a:cxnLst>
              <a:cxn ang="0">
                <a:pos x="connsiteX0" y="connsiteY0"/>
              </a:cxn>
              <a:cxn ang="0">
                <a:pos x="connsiteX1" y="connsiteY1"/>
              </a:cxn>
              <a:cxn ang="0">
                <a:pos x="connsiteX2" y="connsiteY2"/>
              </a:cxn>
              <a:cxn ang="0">
                <a:pos x="connsiteX3" y="connsiteY3"/>
              </a:cxn>
            </a:cxnLst>
            <a:rect l="l" t="t" r="r" b="b"/>
            <a:pathLst>
              <a:path w="835173" h="423351">
                <a:moveTo>
                  <a:pt x="0" y="423351"/>
                </a:moveTo>
                <a:cubicBezTo>
                  <a:pt x="96293" y="321327"/>
                  <a:pt x="192586" y="219303"/>
                  <a:pt x="331781" y="148745"/>
                </a:cubicBezTo>
                <a:cubicBezTo>
                  <a:pt x="470976" y="78187"/>
                  <a:pt x="835173" y="0"/>
                  <a:pt x="835173" y="0"/>
                </a:cubicBezTo>
                <a:lnTo>
                  <a:pt x="835173" y="0"/>
                </a:lnTo>
              </a:path>
            </a:pathLst>
          </a:custGeom>
          <a:ln>
            <a:solidFill>
              <a:srgbClr val="F0B71F"/>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prstClr val="black"/>
              </a:solidFill>
              <a:latin typeface="Calibri"/>
            </a:endParaRPr>
          </a:p>
        </p:txBody>
      </p:sp>
      <p:sp>
        <p:nvSpPr>
          <p:cNvPr id="24" name="Freeform 23"/>
          <p:cNvSpPr/>
          <p:nvPr/>
        </p:nvSpPr>
        <p:spPr>
          <a:xfrm>
            <a:off x="5158596" y="1645960"/>
            <a:ext cx="858054" cy="205955"/>
          </a:xfrm>
          <a:custGeom>
            <a:avLst/>
            <a:gdLst>
              <a:gd name="connsiteX0" fmla="*/ 0 w 858054"/>
              <a:gd name="connsiteY0" fmla="*/ 0 h 205955"/>
              <a:gd name="connsiteX1" fmla="*/ 457629 w 858054"/>
              <a:gd name="connsiteY1" fmla="*/ 57210 h 205955"/>
              <a:gd name="connsiteX2" fmla="*/ 858054 w 858054"/>
              <a:gd name="connsiteY2" fmla="*/ 205955 h 205955"/>
            </a:gdLst>
            <a:ahLst/>
            <a:cxnLst>
              <a:cxn ang="0">
                <a:pos x="connsiteX0" y="connsiteY0"/>
              </a:cxn>
              <a:cxn ang="0">
                <a:pos x="connsiteX1" y="connsiteY1"/>
              </a:cxn>
              <a:cxn ang="0">
                <a:pos x="connsiteX2" y="connsiteY2"/>
              </a:cxn>
            </a:cxnLst>
            <a:rect l="l" t="t" r="r" b="b"/>
            <a:pathLst>
              <a:path w="858054" h="205955">
                <a:moveTo>
                  <a:pt x="0" y="0"/>
                </a:moveTo>
                <a:cubicBezTo>
                  <a:pt x="157310" y="11442"/>
                  <a:pt x="314620" y="22884"/>
                  <a:pt x="457629" y="57210"/>
                </a:cubicBezTo>
                <a:cubicBezTo>
                  <a:pt x="600638" y="91536"/>
                  <a:pt x="858054" y="205955"/>
                  <a:pt x="858054" y="205955"/>
                </a:cubicBezTo>
              </a:path>
            </a:pathLst>
          </a:custGeom>
          <a:ln>
            <a:solidFill>
              <a:srgbClr val="F0B71F"/>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prstClr val="black"/>
              </a:solidFill>
              <a:latin typeface="Calibri"/>
            </a:endParaRPr>
          </a:p>
        </p:txBody>
      </p:sp>
      <p:sp>
        <p:nvSpPr>
          <p:cNvPr id="26" name="Freeform 25"/>
          <p:cNvSpPr/>
          <p:nvPr/>
        </p:nvSpPr>
        <p:spPr>
          <a:xfrm>
            <a:off x="6764114" y="2188678"/>
            <a:ext cx="423307" cy="297490"/>
          </a:xfrm>
          <a:custGeom>
            <a:avLst/>
            <a:gdLst>
              <a:gd name="connsiteX0" fmla="*/ 0 w 423307"/>
              <a:gd name="connsiteY0" fmla="*/ 0 h 297490"/>
              <a:gd name="connsiteX1" fmla="*/ 297459 w 423307"/>
              <a:gd name="connsiteY1" fmla="*/ 148745 h 297490"/>
              <a:gd name="connsiteX2" fmla="*/ 423307 w 423307"/>
              <a:gd name="connsiteY2" fmla="*/ 297490 h 297490"/>
            </a:gdLst>
            <a:ahLst/>
            <a:cxnLst>
              <a:cxn ang="0">
                <a:pos x="connsiteX0" y="connsiteY0"/>
              </a:cxn>
              <a:cxn ang="0">
                <a:pos x="connsiteX1" y="connsiteY1"/>
              </a:cxn>
              <a:cxn ang="0">
                <a:pos x="connsiteX2" y="connsiteY2"/>
              </a:cxn>
            </a:cxnLst>
            <a:rect l="l" t="t" r="r" b="b"/>
            <a:pathLst>
              <a:path w="423307" h="297490">
                <a:moveTo>
                  <a:pt x="0" y="0"/>
                </a:moveTo>
                <a:cubicBezTo>
                  <a:pt x="113454" y="49581"/>
                  <a:pt x="226908" y="99163"/>
                  <a:pt x="297459" y="148745"/>
                </a:cubicBezTo>
                <a:cubicBezTo>
                  <a:pt x="368010" y="198327"/>
                  <a:pt x="423307" y="297490"/>
                  <a:pt x="423307" y="297490"/>
                </a:cubicBezTo>
              </a:path>
            </a:pathLst>
          </a:custGeom>
          <a:ln>
            <a:solidFill>
              <a:srgbClr val="F0B71F"/>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prstClr val="black"/>
              </a:solidFill>
              <a:latin typeface="Calibri"/>
            </a:endParaRPr>
          </a:p>
        </p:txBody>
      </p:sp>
      <p:sp>
        <p:nvSpPr>
          <p:cNvPr id="64" name="Rectangle 63"/>
          <p:cNvSpPr/>
          <p:nvPr/>
        </p:nvSpPr>
        <p:spPr>
          <a:xfrm>
            <a:off x="3882538" y="2941456"/>
            <a:ext cx="2084480" cy="89483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US" sz="1000" dirty="0" smtClean="0">
                <a:solidFill>
                  <a:prstClr val="black"/>
                </a:solidFill>
                <a:latin typeface="Calibri" charset="0"/>
                <a:ea typeface="ＭＳ Ｐゴシック" charset="0"/>
                <a:cs typeface="ＭＳ Ｐゴシック" charset="0"/>
              </a:rPr>
              <a:t>Data shared with larger scientific community. Results feedback to GeneLab and other databases  accelerating scientific discovery by leveraging a bigger community. </a:t>
            </a:r>
          </a:p>
        </p:txBody>
      </p:sp>
      <p:sp>
        <p:nvSpPr>
          <p:cNvPr id="35" name="Freeform 34"/>
          <p:cNvSpPr/>
          <p:nvPr/>
        </p:nvSpPr>
        <p:spPr>
          <a:xfrm>
            <a:off x="7325422" y="4542769"/>
            <a:ext cx="537715" cy="594584"/>
          </a:xfrm>
          <a:custGeom>
            <a:avLst/>
            <a:gdLst>
              <a:gd name="connsiteX0" fmla="*/ 537715 w 537715"/>
              <a:gd name="connsiteY0" fmla="*/ 0 h 389025"/>
              <a:gd name="connsiteX1" fmla="*/ 320341 w 537715"/>
              <a:gd name="connsiteY1" fmla="*/ 251722 h 389025"/>
              <a:gd name="connsiteX2" fmla="*/ 0 w 537715"/>
              <a:gd name="connsiteY2" fmla="*/ 389025 h 389025"/>
            </a:gdLst>
            <a:ahLst/>
            <a:cxnLst>
              <a:cxn ang="0">
                <a:pos x="connsiteX0" y="connsiteY0"/>
              </a:cxn>
              <a:cxn ang="0">
                <a:pos x="connsiteX1" y="connsiteY1"/>
              </a:cxn>
              <a:cxn ang="0">
                <a:pos x="connsiteX2" y="connsiteY2"/>
              </a:cxn>
            </a:cxnLst>
            <a:rect l="l" t="t" r="r" b="b"/>
            <a:pathLst>
              <a:path w="537715" h="389025">
                <a:moveTo>
                  <a:pt x="537715" y="0"/>
                </a:moveTo>
                <a:cubicBezTo>
                  <a:pt x="473837" y="93442"/>
                  <a:pt x="409960" y="186885"/>
                  <a:pt x="320341" y="251722"/>
                </a:cubicBezTo>
                <a:cubicBezTo>
                  <a:pt x="230722" y="316560"/>
                  <a:pt x="0" y="389025"/>
                  <a:pt x="0" y="389025"/>
                </a:cubicBezTo>
              </a:path>
            </a:pathLst>
          </a:custGeom>
          <a:ln>
            <a:solidFill>
              <a:schemeClr val="accent5">
                <a:lumMod val="75000"/>
              </a:schemeClr>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prstClr val="black"/>
              </a:solidFill>
              <a:latin typeface="Calibri"/>
            </a:endParaRPr>
          </a:p>
        </p:txBody>
      </p:sp>
      <p:sp>
        <p:nvSpPr>
          <p:cNvPr id="76" name="Rectangle 75"/>
          <p:cNvSpPr/>
          <p:nvPr/>
        </p:nvSpPr>
        <p:spPr>
          <a:xfrm>
            <a:off x="120161" y="3703807"/>
            <a:ext cx="1174252" cy="97973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US" sz="1000" dirty="0" smtClean="0">
                <a:solidFill>
                  <a:prstClr val="black"/>
                </a:solidFill>
                <a:latin typeface="Calibri" charset="0"/>
                <a:ea typeface="ＭＳ Ｐゴシック" charset="0"/>
                <a:cs typeface="ＭＳ Ｐゴシック" charset="0"/>
              </a:rPr>
              <a:t>GeneLab Experiment is prepared and launched.</a:t>
            </a:r>
            <a:endParaRPr lang="en-US" sz="1000" dirty="0">
              <a:solidFill>
                <a:prstClr val="black"/>
              </a:solidFill>
              <a:latin typeface="Calibri" charset="0"/>
              <a:ea typeface="ＭＳ Ｐゴシック" charset="0"/>
              <a:cs typeface="ＭＳ Ｐゴシック" charset="0"/>
            </a:endParaRPr>
          </a:p>
        </p:txBody>
      </p:sp>
      <p:cxnSp>
        <p:nvCxnSpPr>
          <p:cNvPr id="77" name="Straight Connector 76"/>
          <p:cNvCxnSpPr/>
          <p:nvPr>
            <p:custDataLst>
              <p:tags r:id="rId6"/>
            </p:custDataLst>
          </p:nvPr>
        </p:nvCxnSpPr>
        <p:spPr>
          <a:xfrm>
            <a:off x="3901248" y="2955510"/>
            <a:ext cx="1900384" cy="0"/>
          </a:xfrm>
          <a:prstGeom prst="line">
            <a:avLst/>
          </a:prstGeom>
          <a:ln w="3175">
            <a:solidFill>
              <a:srgbClr val="2A9B18"/>
            </a:solidFill>
            <a:headEnd type="oval" w="sm" len="sm"/>
            <a:tailEnd type="oval" w="sm" len="sm"/>
          </a:ln>
          <a:effectLst/>
        </p:spPr>
        <p:style>
          <a:lnRef idx="2">
            <a:schemeClr val="accent1"/>
          </a:lnRef>
          <a:fillRef idx="0">
            <a:schemeClr val="accent1"/>
          </a:fillRef>
          <a:effectRef idx="1">
            <a:schemeClr val="accent1"/>
          </a:effectRef>
          <a:fontRef idx="minor">
            <a:schemeClr val="tx1"/>
          </a:fontRef>
        </p:style>
      </p:cxnSp>
      <p:pic>
        <p:nvPicPr>
          <p:cNvPr id="36" name="Picture 35"/>
          <p:cNvPicPr>
            <a:picLocks noChangeAspect="1"/>
          </p:cNvPicPr>
          <p:nvPr/>
        </p:nvPicPr>
        <p:blipFill>
          <a:blip r:embed="rId22"/>
          <a:stretch>
            <a:fillRect/>
          </a:stretch>
        </p:blipFill>
        <p:spPr>
          <a:xfrm>
            <a:off x="5526835" y="3944774"/>
            <a:ext cx="1082880" cy="812797"/>
          </a:xfrm>
          <a:prstGeom prst="rect">
            <a:avLst/>
          </a:prstGeom>
        </p:spPr>
      </p:pic>
      <p:sp>
        <p:nvSpPr>
          <p:cNvPr id="78" name="TextBox 77"/>
          <p:cNvSpPr txBox="1"/>
          <p:nvPr/>
        </p:nvSpPr>
        <p:spPr>
          <a:xfrm>
            <a:off x="3950217" y="2631879"/>
            <a:ext cx="1708692" cy="276999"/>
          </a:xfrm>
          <a:prstGeom prst="rect">
            <a:avLst/>
          </a:prstGeom>
          <a:noFill/>
        </p:spPr>
        <p:txBody>
          <a:bodyPr wrap="square" lIns="0" tIns="0" rIns="0" bIns="0" rtlCol="0" anchor="b">
            <a:spAutoFit/>
          </a:bodyPr>
          <a:lstStyle/>
          <a:p>
            <a:r>
              <a:rPr lang="en-US" b="1" dirty="0" smtClean="0">
                <a:solidFill>
                  <a:prstClr val="black"/>
                </a:solidFill>
                <a:latin typeface="Calibri"/>
              </a:rPr>
              <a:t>Data Sharing</a:t>
            </a:r>
            <a:endParaRPr lang="en-US" dirty="0">
              <a:solidFill>
                <a:prstClr val="black"/>
              </a:solidFill>
              <a:latin typeface="Calibri"/>
            </a:endParaRPr>
          </a:p>
        </p:txBody>
      </p:sp>
      <p:cxnSp>
        <p:nvCxnSpPr>
          <p:cNvPr id="80" name="Straight Connector 79"/>
          <p:cNvCxnSpPr/>
          <p:nvPr>
            <p:custDataLst>
              <p:tags r:id="rId7"/>
            </p:custDataLst>
          </p:nvPr>
        </p:nvCxnSpPr>
        <p:spPr>
          <a:xfrm>
            <a:off x="168597" y="3695613"/>
            <a:ext cx="993478" cy="8194"/>
          </a:xfrm>
          <a:prstGeom prst="line">
            <a:avLst/>
          </a:prstGeom>
          <a:ln w="3175">
            <a:solidFill>
              <a:srgbClr val="CE202A"/>
            </a:solidFill>
            <a:headEnd type="oval" w="sm" len="sm"/>
            <a:tailEnd type="oval" w="sm" len="sm"/>
          </a:ln>
          <a:effectLst/>
        </p:spPr>
        <p:style>
          <a:lnRef idx="2">
            <a:schemeClr val="accent1"/>
          </a:lnRef>
          <a:fillRef idx="0">
            <a:schemeClr val="accent1"/>
          </a:fillRef>
          <a:effectRef idx="1">
            <a:schemeClr val="accent1"/>
          </a:effectRef>
          <a:fontRef idx="minor">
            <a:schemeClr val="tx1"/>
          </a:fontRef>
        </p:style>
      </p:cxnSp>
      <p:sp>
        <p:nvSpPr>
          <p:cNvPr id="81" name="TextBox 80"/>
          <p:cNvSpPr txBox="1"/>
          <p:nvPr/>
        </p:nvSpPr>
        <p:spPr>
          <a:xfrm>
            <a:off x="149399" y="3385838"/>
            <a:ext cx="2103525" cy="276999"/>
          </a:xfrm>
          <a:prstGeom prst="rect">
            <a:avLst/>
          </a:prstGeom>
          <a:noFill/>
        </p:spPr>
        <p:txBody>
          <a:bodyPr wrap="square" lIns="0" tIns="0" rIns="0" bIns="0" rtlCol="0" anchor="b">
            <a:spAutoFit/>
          </a:bodyPr>
          <a:lstStyle/>
          <a:p>
            <a:r>
              <a:rPr lang="en-US" b="1" dirty="0" smtClean="0">
                <a:solidFill>
                  <a:prstClr val="black"/>
                </a:solidFill>
                <a:latin typeface="Calibri"/>
              </a:rPr>
              <a:t>Experiment Initiation</a:t>
            </a:r>
            <a:endParaRPr lang="en-US" dirty="0">
              <a:solidFill>
                <a:prstClr val="black"/>
              </a:solidFill>
              <a:latin typeface="Calibri"/>
            </a:endParaRPr>
          </a:p>
        </p:txBody>
      </p:sp>
      <p:cxnSp>
        <p:nvCxnSpPr>
          <p:cNvPr id="82" name="Straight Connector 81"/>
          <p:cNvCxnSpPr/>
          <p:nvPr>
            <p:custDataLst>
              <p:tags r:id="rId8"/>
            </p:custDataLst>
          </p:nvPr>
        </p:nvCxnSpPr>
        <p:spPr>
          <a:xfrm>
            <a:off x="5800735" y="5489304"/>
            <a:ext cx="1900384" cy="0"/>
          </a:xfrm>
          <a:prstGeom prst="line">
            <a:avLst/>
          </a:prstGeom>
          <a:ln w="3175">
            <a:solidFill>
              <a:schemeClr val="tx2">
                <a:lumMod val="60000"/>
                <a:lumOff val="40000"/>
              </a:schemeClr>
            </a:solidFill>
            <a:headEnd type="oval" w="sm" len="sm"/>
            <a:tailEnd type="oval" w="sm" len="sm"/>
          </a:ln>
          <a:effectLst/>
        </p:spPr>
        <p:style>
          <a:lnRef idx="2">
            <a:schemeClr val="accent1"/>
          </a:lnRef>
          <a:fillRef idx="0">
            <a:schemeClr val="accent1"/>
          </a:fillRef>
          <a:effectRef idx="1">
            <a:schemeClr val="accent1"/>
          </a:effectRef>
          <a:fontRef idx="minor">
            <a:schemeClr val="tx1"/>
          </a:fontRef>
        </p:style>
      </p:cxnSp>
      <p:sp>
        <p:nvSpPr>
          <p:cNvPr id="83" name="TextBox 82"/>
          <p:cNvSpPr txBox="1"/>
          <p:nvPr/>
        </p:nvSpPr>
        <p:spPr>
          <a:xfrm>
            <a:off x="5787636" y="5164192"/>
            <a:ext cx="2591033" cy="276999"/>
          </a:xfrm>
          <a:prstGeom prst="rect">
            <a:avLst/>
          </a:prstGeom>
          <a:noFill/>
        </p:spPr>
        <p:txBody>
          <a:bodyPr wrap="square" lIns="0" tIns="0" rIns="0" bIns="0" rtlCol="0" anchor="b">
            <a:spAutoFit/>
          </a:bodyPr>
          <a:lstStyle/>
          <a:p>
            <a:r>
              <a:rPr lang="en-US" b="1" dirty="0" smtClean="0">
                <a:solidFill>
                  <a:prstClr val="black"/>
                </a:solidFill>
                <a:latin typeface="Calibri"/>
              </a:rPr>
              <a:t>Modeling and Validation</a:t>
            </a:r>
            <a:endParaRPr lang="en-US" dirty="0">
              <a:solidFill>
                <a:prstClr val="black"/>
              </a:solidFill>
              <a:latin typeface="Calibri"/>
            </a:endParaRPr>
          </a:p>
        </p:txBody>
      </p:sp>
      <p:pic>
        <p:nvPicPr>
          <p:cNvPr id="51" name="Picture 50" descr="rocket.png"/>
          <p:cNvPicPr>
            <a:picLocks noChangeAspect="1"/>
          </p:cNvPicPr>
          <p:nvPr/>
        </p:nvPicPr>
        <p:blipFill>
          <a:blip r:embed="rId23"/>
          <a:stretch>
            <a:fillRect/>
          </a:stretch>
        </p:blipFill>
        <p:spPr>
          <a:xfrm rot="19889652">
            <a:off x="824371" y="4032316"/>
            <a:ext cx="1005683" cy="1236115"/>
          </a:xfrm>
          <a:prstGeom prst="rect">
            <a:avLst/>
          </a:prstGeom>
        </p:spPr>
      </p:pic>
      <p:sp>
        <p:nvSpPr>
          <p:cNvPr id="49" name="Freeform 48"/>
          <p:cNvSpPr/>
          <p:nvPr/>
        </p:nvSpPr>
        <p:spPr>
          <a:xfrm rot="7132718">
            <a:off x="1912065" y="4281236"/>
            <a:ext cx="297458" cy="978967"/>
          </a:xfrm>
          <a:custGeom>
            <a:avLst/>
            <a:gdLst>
              <a:gd name="connsiteX0" fmla="*/ 0 w 297458"/>
              <a:gd name="connsiteY0" fmla="*/ 0 h 846702"/>
              <a:gd name="connsiteX1" fmla="*/ 205933 w 297458"/>
              <a:gd name="connsiteY1" fmla="*/ 366141 h 846702"/>
              <a:gd name="connsiteX2" fmla="*/ 297458 w 297458"/>
              <a:gd name="connsiteY2" fmla="*/ 846702 h 846702"/>
            </a:gdLst>
            <a:ahLst/>
            <a:cxnLst>
              <a:cxn ang="0">
                <a:pos x="connsiteX0" y="connsiteY0"/>
              </a:cxn>
              <a:cxn ang="0">
                <a:pos x="connsiteX1" y="connsiteY1"/>
              </a:cxn>
              <a:cxn ang="0">
                <a:pos x="connsiteX2" y="connsiteY2"/>
              </a:cxn>
            </a:cxnLst>
            <a:rect l="l" t="t" r="r" b="b"/>
            <a:pathLst>
              <a:path w="297458" h="846702">
                <a:moveTo>
                  <a:pt x="0" y="0"/>
                </a:moveTo>
                <a:cubicBezTo>
                  <a:pt x="78178" y="112512"/>
                  <a:pt x="156357" y="225024"/>
                  <a:pt x="205933" y="366141"/>
                </a:cubicBezTo>
                <a:cubicBezTo>
                  <a:pt x="255509" y="507258"/>
                  <a:pt x="297458" y="846702"/>
                  <a:pt x="297458" y="846702"/>
                </a:cubicBezTo>
              </a:path>
            </a:pathLst>
          </a:custGeom>
          <a:ln>
            <a:solidFill>
              <a:srgbClr val="ED9901"/>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prstClr val="black"/>
              </a:solidFill>
              <a:latin typeface="Calibri"/>
            </a:endParaRPr>
          </a:p>
        </p:txBody>
      </p:sp>
      <p:sp>
        <p:nvSpPr>
          <p:cNvPr id="52" name="Rectangle 51"/>
          <p:cNvSpPr/>
          <p:nvPr/>
        </p:nvSpPr>
        <p:spPr>
          <a:xfrm>
            <a:off x="2722042" y="4370731"/>
            <a:ext cx="2084480" cy="7428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spcAft>
                <a:spcPts val="600"/>
              </a:spcAft>
            </a:pPr>
            <a:r>
              <a:rPr lang="en-US" sz="1000" dirty="0" smtClean="0">
                <a:solidFill>
                  <a:prstClr val="black"/>
                </a:solidFill>
                <a:latin typeface="Calibri" charset="0"/>
                <a:ea typeface="ＭＳ Ｐゴシック" charset="0"/>
                <a:cs typeface="ＭＳ Ｐゴシック" charset="0"/>
              </a:rPr>
              <a:t>Iterative research solicitations for experiments utilizing GeneLab data</a:t>
            </a:r>
            <a:r>
              <a:rPr lang="en-US" sz="1000" dirty="0">
                <a:solidFill>
                  <a:prstClr val="black"/>
                </a:solidFill>
                <a:latin typeface="Calibri" charset="0"/>
                <a:ea typeface="ＭＳ Ｐゴシック" charset="0"/>
                <a:cs typeface="ＭＳ Ｐゴシック" charset="0"/>
              </a:rPr>
              <a:t> </a:t>
            </a:r>
            <a:r>
              <a:rPr lang="en-US" sz="1000" dirty="0" smtClean="0">
                <a:solidFill>
                  <a:prstClr val="black"/>
                </a:solidFill>
                <a:latin typeface="Calibri" charset="0"/>
                <a:ea typeface="ＭＳ Ｐゴシック" charset="0"/>
                <a:cs typeface="ＭＳ Ｐゴシック" charset="0"/>
              </a:rPr>
              <a:t>for ground validation and next generation flight research.</a:t>
            </a:r>
            <a:endParaRPr lang="en-US" sz="1000" dirty="0">
              <a:solidFill>
                <a:prstClr val="black"/>
              </a:solidFill>
              <a:latin typeface="Calibri" charset="0"/>
              <a:ea typeface="ＭＳ Ｐゴシック" charset="0"/>
              <a:cs typeface="ＭＳ Ｐゴシック" charset="0"/>
            </a:endParaRPr>
          </a:p>
        </p:txBody>
      </p:sp>
      <p:sp>
        <p:nvSpPr>
          <p:cNvPr id="53" name="TextBox 52"/>
          <p:cNvSpPr txBox="1"/>
          <p:nvPr/>
        </p:nvSpPr>
        <p:spPr>
          <a:xfrm>
            <a:off x="2873464" y="4048776"/>
            <a:ext cx="2653371" cy="276999"/>
          </a:xfrm>
          <a:prstGeom prst="rect">
            <a:avLst/>
          </a:prstGeom>
          <a:noFill/>
        </p:spPr>
        <p:txBody>
          <a:bodyPr wrap="square" lIns="0" tIns="0" rIns="0" bIns="0" rtlCol="0" anchor="b">
            <a:spAutoFit/>
          </a:bodyPr>
          <a:lstStyle/>
          <a:p>
            <a:r>
              <a:rPr lang="en-US" b="1" dirty="0" smtClean="0">
                <a:solidFill>
                  <a:prstClr val="black"/>
                </a:solidFill>
                <a:latin typeface="Calibri"/>
              </a:rPr>
              <a:t>Next Generation Research</a:t>
            </a:r>
            <a:endParaRPr lang="en-US" dirty="0">
              <a:solidFill>
                <a:prstClr val="black"/>
              </a:solidFill>
              <a:latin typeface="Calibri"/>
            </a:endParaRPr>
          </a:p>
        </p:txBody>
      </p:sp>
      <p:cxnSp>
        <p:nvCxnSpPr>
          <p:cNvPr id="55" name="Straight Connector 54"/>
          <p:cNvCxnSpPr/>
          <p:nvPr>
            <p:custDataLst>
              <p:tags r:id="rId9"/>
            </p:custDataLst>
          </p:nvPr>
        </p:nvCxnSpPr>
        <p:spPr>
          <a:xfrm>
            <a:off x="2800001" y="4376133"/>
            <a:ext cx="1846211" cy="8194"/>
          </a:xfrm>
          <a:prstGeom prst="line">
            <a:avLst/>
          </a:prstGeom>
          <a:ln w="3175">
            <a:solidFill>
              <a:srgbClr val="CE202A"/>
            </a:solidFill>
            <a:headEnd type="oval" w="sm" len="sm"/>
            <a:tailEnd type="oval" w="sm" len="sm"/>
          </a:ln>
          <a:effectLst/>
        </p:spPr>
        <p:style>
          <a:lnRef idx="2">
            <a:schemeClr val="accent1"/>
          </a:lnRef>
          <a:fillRef idx="0">
            <a:schemeClr val="accent1"/>
          </a:fillRef>
          <a:effectRef idx="1">
            <a:schemeClr val="accent1"/>
          </a:effectRef>
          <a:fontRef idx="minor">
            <a:schemeClr val="tx1"/>
          </a:fontRef>
        </p:style>
      </p:cxnSp>
      <p:sp>
        <p:nvSpPr>
          <p:cNvPr id="57" name="Freeform 56"/>
          <p:cNvSpPr/>
          <p:nvPr/>
        </p:nvSpPr>
        <p:spPr>
          <a:xfrm rot="3100787">
            <a:off x="4525554" y="5235336"/>
            <a:ext cx="848015" cy="392624"/>
          </a:xfrm>
          <a:custGeom>
            <a:avLst/>
            <a:gdLst>
              <a:gd name="connsiteX0" fmla="*/ 537715 w 537715"/>
              <a:gd name="connsiteY0" fmla="*/ 0 h 389025"/>
              <a:gd name="connsiteX1" fmla="*/ 320341 w 537715"/>
              <a:gd name="connsiteY1" fmla="*/ 251722 h 389025"/>
              <a:gd name="connsiteX2" fmla="*/ 0 w 537715"/>
              <a:gd name="connsiteY2" fmla="*/ 389025 h 389025"/>
            </a:gdLst>
            <a:ahLst/>
            <a:cxnLst>
              <a:cxn ang="0">
                <a:pos x="connsiteX0" y="connsiteY0"/>
              </a:cxn>
              <a:cxn ang="0">
                <a:pos x="connsiteX1" y="connsiteY1"/>
              </a:cxn>
              <a:cxn ang="0">
                <a:pos x="connsiteX2" y="connsiteY2"/>
              </a:cxn>
            </a:cxnLst>
            <a:rect l="l" t="t" r="r" b="b"/>
            <a:pathLst>
              <a:path w="537715" h="389025">
                <a:moveTo>
                  <a:pt x="537715" y="0"/>
                </a:moveTo>
                <a:cubicBezTo>
                  <a:pt x="473837" y="93442"/>
                  <a:pt x="409960" y="186885"/>
                  <a:pt x="320341" y="251722"/>
                </a:cubicBezTo>
                <a:cubicBezTo>
                  <a:pt x="230722" y="316560"/>
                  <a:pt x="0" y="389025"/>
                  <a:pt x="0" y="389025"/>
                </a:cubicBezTo>
              </a:path>
            </a:pathLst>
          </a:custGeom>
          <a:ln>
            <a:solidFill>
              <a:schemeClr val="accent5">
                <a:lumMod val="75000"/>
              </a:schemeClr>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prstClr val="black"/>
              </a:solidFill>
              <a:latin typeface="Calibri"/>
            </a:endParaRPr>
          </a:p>
        </p:txBody>
      </p:sp>
      <p:sp>
        <p:nvSpPr>
          <p:cNvPr id="58" name="Freeform 57"/>
          <p:cNvSpPr/>
          <p:nvPr/>
        </p:nvSpPr>
        <p:spPr>
          <a:xfrm rot="19537652" flipV="1">
            <a:off x="6202473" y="2773024"/>
            <a:ext cx="807807" cy="582031"/>
          </a:xfrm>
          <a:custGeom>
            <a:avLst/>
            <a:gdLst>
              <a:gd name="connsiteX0" fmla="*/ 537715 w 537715"/>
              <a:gd name="connsiteY0" fmla="*/ 0 h 389025"/>
              <a:gd name="connsiteX1" fmla="*/ 320341 w 537715"/>
              <a:gd name="connsiteY1" fmla="*/ 251722 h 389025"/>
              <a:gd name="connsiteX2" fmla="*/ 0 w 537715"/>
              <a:gd name="connsiteY2" fmla="*/ 389025 h 389025"/>
            </a:gdLst>
            <a:ahLst/>
            <a:cxnLst>
              <a:cxn ang="0">
                <a:pos x="connsiteX0" y="connsiteY0"/>
              </a:cxn>
              <a:cxn ang="0">
                <a:pos x="connsiteX1" y="connsiteY1"/>
              </a:cxn>
              <a:cxn ang="0">
                <a:pos x="connsiteX2" y="connsiteY2"/>
              </a:cxn>
            </a:cxnLst>
            <a:rect l="l" t="t" r="r" b="b"/>
            <a:pathLst>
              <a:path w="537715" h="389025">
                <a:moveTo>
                  <a:pt x="537715" y="0"/>
                </a:moveTo>
                <a:cubicBezTo>
                  <a:pt x="473837" y="93442"/>
                  <a:pt x="409960" y="186885"/>
                  <a:pt x="320341" y="251722"/>
                </a:cubicBezTo>
                <a:cubicBezTo>
                  <a:pt x="230722" y="316560"/>
                  <a:pt x="0" y="389025"/>
                  <a:pt x="0" y="389025"/>
                </a:cubicBezTo>
              </a:path>
            </a:pathLst>
          </a:custGeom>
          <a:ln>
            <a:solidFill>
              <a:schemeClr val="accent5">
                <a:lumMod val="75000"/>
              </a:schemeClr>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prstClr val="black"/>
              </a:solidFill>
              <a:latin typeface="Calibri"/>
            </a:endParaRPr>
          </a:p>
        </p:txBody>
      </p:sp>
      <p:sp>
        <p:nvSpPr>
          <p:cNvPr id="59" name="Freeform 58"/>
          <p:cNvSpPr/>
          <p:nvPr/>
        </p:nvSpPr>
        <p:spPr>
          <a:xfrm rot="4159715" flipH="1">
            <a:off x="3364994" y="3493502"/>
            <a:ext cx="368682" cy="534510"/>
          </a:xfrm>
          <a:custGeom>
            <a:avLst/>
            <a:gdLst>
              <a:gd name="connsiteX0" fmla="*/ 537715 w 537715"/>
              <a:gd name="connsiteY0" fmla="*/ 0 h 389025"/>
              <a:gd name="connsiteX1" fmla="*/ 320341 w 537715"/>
              <a:gd name="connsiteY1" fmla="*/ 251722 h 389025"/>
              <a:gd name="connsiteX2" fmla="*/ 0 w 537715"/>
              <a:gd name="connsiteY2" fmla="*/ 389025 h 389025"/>
            </a:gdLst>
            <a:ahLst/>
            <a:cxnLst>
              <a:cxn ang="0">
                <a:pos x="connsiteX0" y="connsiteY0"/>
              </a:cxn>
              <a:cxn ang="0">
                <a:pos x="connsiteX1" y="connsiteY1"/>
              </a:cxn>
              <a:cxn ang="0">
                <a:pos x="connsiteX2" y="connsiteY2"/>
              </a:cxn>
            </a:cxnLst>
            <a:rect l="l" t="t" r="r" b="b"/>
            <a:pathLst>
              <a:path w="537715" h="389025">
                <a:moveTo>
                  <a:pt x="537715" y="0"/>
                </a:moveTo>
                <a:cubicBezTo>
                  <a:pt x="473837" y="93442"/>
                  <a:pt x="409960" y="186885"/>
                  <a:pt x="320341" y="251722"/>
                </a:cubicBezTo>
                <a:cubicBezTo>
                  <a:pt x="230722" y="316560"/>
                  <a:pt x="0" y="389025"/>
                  <a:pt x="0" y="389025"/>
                </a:cubicBezTo>
              </a:path>
            </a:pathLst>
          </a:custGeom>
          <a:ln>
            <a:solidFill>
              <a:schemeClr val="accent5">
                <a:lumMod val="75000"/>
              </a:schemeClr>
            </a:solidFill>
            <a:prstDash val="sysDash"/>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prstClr val="black"/>
              </a:solidFill>
              <a:latin typeface="Calibri"/>
            </a:endParaRPr>
          </a:p>
        </p:txBody>
      </p:sp>
      <p:sp>
        <p:nvSpPr>
          <p:cNvPr id="62" name="TextBox 61"/>
          <p:cNvSpPr txBox="1"/>
          <p:nvPr/>
        </p:nvSpPr>
        <p:spPr>
          <a:xfrm>
            <a:off x="2873464" y="0"/>
            <a:ext cx="6486001" cy="584776"/>
          </a:xfrm>
          <a:prstGeom prst="rect">
            <a:avLst/>
          </a:prstGeom>
          <a:noFill/>
        </p:spPr>
        <p:txBody>
          <a:bodyPr wrap="square" rtlCol="0">
            <a:spAutoFit/>
          </a:bodyPr>
          <a:lstStyle/>
          <a:p>
            <a:pPr algn="ctr"/>
            <a:r>
              <a:rPr lang="en-US" sz="3200" b="1" dirty="0" smtClean="0">
                <a:solidFill>
                  <a:prstClr val="black"/>
                </a:solidFill>
                <a:latin typeface="Calibri"/>
              </a:rPr>
              <a:t>Concept of Operations</a:t>
            </a:r>
            <a:endParaRPr lang="en-US" sz="3200" b="1" dirty="0">
              <a:solidFill>
                <a:prstClr val="black"/>
              </a:solidFill>
              <a:latin typeface="Calibri"/>
            </a:endParaRPr>
          </a:p>
        </p:txBody>
      </p:sp>
      <p:pic>
        <p:nvPicPr>
          <p:cNvPr id="72" name="Picture 71"/>
          <p:cNvPicPr>
            <a:picLocks noChangeAspect="1"/>
          </p:cNvPicPr>
          <p:nvPr/>
        </p:nvPicPr>
        <p:blipFill>
          <a:blip r:embed="rId24"/>
          <a:stretch>
            <a:fillRect/>
          </a:stretch>
        </p:blipFill>
        <p:spPr>
          <a:xfrm>
            <a:off x="12472" y="0"/>
            <a:ext cx="3523095" cy="644690"/>
          </a:xfrm>
          <a:prstGeom prst="rect">
            <a:avLst/>
          </a:prstGeom>
        </p:spPr>
      </p:pic>
      <p:sp>
        <p:nvSpPr>
          <p:cNvPr id="71" name="Date Placeholder 3"/>
          <p:cNvSpPr>
            <a:spLocks noGrp="1"/>
          </p:cNvSpPr>
          <p:nvPr>
            <p:ph type="dt" sz="half" idx="10"/>
          </p:nvPr>
        </p:nvSpPr>
        <p:spPr>
          <a:xfrm>
            <a:off x="487440" y="6431940"/>
            <a:ext cx="2133600" cy="365125"/>
          </a:xfrm>
          <a:prstGeom prst="rect">
            <a:avLst/>
          </a:prstGeom>
        </p:spPr>
        <p:txBody>
          <a:bodyPr anchor="ctr"/>
          <a:lstStyle>
            <a:lvl1pPr>
              <a:defRPr sz="1400" b="1">
                <a:latin typeface="Arial"/>
                <a:cs typeface="Arial"/>
              </a:defRPr>
            </a:lvl1pPr>
          </a:lstStyle>
          <a:p>
            <a:r>
              <a:rPr lang="en-US" smtClean="0">
                <a:solidFill>
                  <a:prstClr val="black"/>
                </a:solidFill>
              </a:rPr>
              <a:t>14 January 2016</a:t>
            </a:r>
            <a:endParaRPr lang="en-US" dirty="0">
              <a:solidFill>
                <a:prstClr val="black"/>
              </a:solidFill>
            </a:endParaRPr>
          </a:p>
        </p:txBody>
      </p:sp>
      <p:sp>
        <p:nvSpPr>
          <p:cNvPr id="74" name="Footer Placeholder 4"/>
          <p:cNvSpPr>
            <a:spLocks noGrp="1"/>
          </p:cNvSpPr>
          <p:nvPr>
            <p:ph type="ftr" sz="quarter" idx="11"/>
          </p:nvPr>
        </p:nvSpPr>
        <p:spPr>
          <a:xfrm>
            <a:off x="2811451" y="6431940"/>
            <a:ext cx="6064159" cy="365125"/>
          </a:xfrm>
        </p:spPr>
        <p:txBody>
          <a:bodyPr/>
          <a:lstStyle>
            <a:lvl1pPr>
              <a:defRPr sz="1400" b="1">
                <a:latin typeface="Arial"/>
                <a:cs typeface="Arial"/>
              </a:defRPr>
            </a:lvl1pPr>
          </a:lstStyle>
          <a:p>
            <a:pPr algn="l"/>
            <a:r>
              <a:rPr lang="en-US" smtClean="0">
                <a:solidFill>
                  <a:srgbClr val="000000"/>
                </a:solidFill>
              </a:rPr>
              <a:t>Collaborative Life Sciences Data TEM | Michael Skidmore                      </a:t>
            </a:r>
            <a:endParaRPr lang="en-US" dirty="0">
              <a:solidFill>
                <a:srgbClr val="000000"/>
              </a:solidFill>
            </a:endParaRPr>
          </a:p>
        </p:txBody>
      </p:sp>
      <p:sp>
        <p:nvSpPr>
          <p:cNvPr id="75" name="Slide Number Placeholder 1"/>
          <p:cNvSpPr>
            <a:spLocks noGrp="1"/>
          </p:cNvSpPr>
          <p:nvPr>
            <p:ph type="sldNum" sz="quarter" idx="12"/>
          </p:nvPr>
        </p:nvSpPr>
        <p:spPr>
          <a:xfrm>
            <a:off x="7786154" y="6435721"/>
            <a:ext cx="1085865" cy="365125"/>
          </a:xfrm>
        </p:spPr>
        <p:txBody>
          <a:bodyPr/>
          <a:lstStyle/>
          <a:p>
            <a:fld id="{ACB3FC3A-BC2E-574C-8636-F1DF04588B6F}" type="slidenum">
              <a:rPr lang="en-US" b="1" smtClean="0">
                <a:solidFill>
                  <a:srgbClr val="000000"/>
                </a:solidFill>
              </a:rPr>
              <a:pPr/>
              <a:t>7</a:t>
            </a:fld>
            <a:endParaRPr lang="en-US" b="1" dirty="0">
              <a:solidFill>
                <a:srgbClr val="000000"/>
              </a:solidFill>
            </a:endParaRPr>
          </a:p>
        </p:txBody>
      </p:sp>
    </p:spTree>
    <p:extLst>
      <p:ext uri="{BB962C8B-B14F-4D97-AF65-F5344CB8AC3E}">
        <p14:creationId xmlns:p14="http://schemas.microsoft.com/office/powerpoint/2010/main" val="769534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3535567" y="25402"/>
            <a:ext cx="5254170" cy="584776"/>
          </a:xfrm>
          <a:prstGeom prst="rect">
            <a:avLst/>
          </a:prstGeom>
          <a:noFill/>
        </p:spPr>
        <p:txBody>
          <a:bodyPr wrap="square" rtlCol="0">
            <a:spAutoFit/>
          </a:bodyPr>
          <a:lstStyle/>
          <a:p>
            <a:pPr algn="ctr"/>
            <a:r>
              <a:rPr lang="en-US" sz="3200" b="1" dirty="0" smtClean="0">
                <a:solidFill>
                  <a:srgbClr val="000000"/>
                </a:solidFill>
                <a:latin typeface="Calibri"/>
              </a:rPr>
              <a:t>GeneLab Mission Types</a:t>
            </a:r>
            <a:endParaRPr lang="en-US" sz="3200" b="1" dirty="0">
              <a:solidFill>
                <a:srgbClr val="000000"/>
              </a:solidFill>
              <a:latin typeface="Calibri"/>
            </a:endParaRPr>
          </a:p>
        </p:txBody>
      </p:sp>
      <p:graphicFrame>
        <p:nvGraphicFramePr>
          <p:cNvPr id="9" name="Table 8"/>
          <p:cNvGraphicFramePr>
            <a:graphicFrameLocks noGrp="1"/>
          </p:cNvGraphicFramePr>
          <p:nvPr>
            <p:extLst>
              <p:ext uri="{D42A27DB-BD31-4B8C-83A1-F6EECF244321}">
                <p14:modId xmlns:p14="http://schemas.microsoft.com/office/powerpoint/2010/main" val="2223027784"/>
              </p:ext>
            </p:extLst>
          </p:nvPr>
        </p:nvGraphicFramePr>
        <p:xfrm>
          <a:off x="167872" y="891641"/>
          <a:ext cx="8775509" cy="5228874"/>
        </p:xfrm>
        <a:graphic>
          <a:graphicData uri="http://schemas.openxmlformats.org/drawingml/2006/table">
            <a:tbl>
              <a:tblPr/>
              <a:tblGrid>
                <a:gridCol w="1248589"/>
                <a:gridCol w="1356125"/>
                <a:gridCol w="3885916"/>
                <a:gridCol w="2284879"/>
              </a:tblGrid>
              <a:tr h="267521">
                <a:tc>
                  <a:txBody>
                    <a:bodyPr/>
                    <a:lstStyle/>
                    <a:p>
                      <a:pPr algn="ctr" fontAlgn="b"/>
                      <a:r>
                        <a:rPr lang="en-US" sz="2000" b="1" i="0" u="none" strike="noStrike" dirty="0">
                          <a:solidFill>
                            <a:srgbClr val="FFFFFF"/>
                          </a:solidFill>
                          <a:effectLst/>
                          <a:latin typeface="Calibri"/>
                        </a:rPr>
                        <a:t>Mission</a:t>
                      </a:r>
                    </a:p>
                  </a:txBody>
                  <a:tcPr marL="12700" marR="12700" marT="12700" marB="0" anchor="b">
                    <a:lnL w="19050" cap="flat" cmpd="sng" algn="ctr">
                      <a:solidFill>
                        <a:scrgbClr r="0" g="0" b="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crgbClr r="0" g="0" b="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4F81BD"/>
                    </a:solidFill>
                  </a:tcPr>
                </a:tc>
                <a:tc>
                  <a:txBody>
                    <a:bodyPr/>
                    <a:lstStyle/>
                    <a:p>
                      <a:pPr algn="ctr" fontAlgn="b"/>
                      <a:r>
                        <a:rPr lang="en-US" sz="2000" b="1" i="0" u="none" strike="noStrike" dirty="0" smtClean="0">
                          <a:solidFill>
                            <a:srgbClr val="FFFFFF"/>
                          </a:solidFill>
                          <a:effectLst/>
                          <a:latin typeface="Calibri"/>
                        </a:rPr>
                        <a:t>Type</a:t>
                      </a:r>
                      <a:endParaRPr lang="en-US" sz="2000" b="1" i="0" u="none" strike="noStrike" dirty="0">
                        <a:solidFill>
                          <a:srgbClr val="FFFFFF"/>
                        </a:solidFill>
                        <a:effectLst/>
                        <a:latin typeface="Calibri"/>
                      </a:endParaRPr>
                    </a:p>
                  </a:txBody>
                  <a:tcPr marL="12700" marR="12700" marT="1270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crgbClr r="0" g="0" b="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4F81BD"/>
                    </a:solidFill>
                  </a:tcPr>
                </a:tc>
                <a:tc>
                  <a:txBody>
                    <a:bodyPr/>
                    <a:lstStyle/>
                    <a:p>
                      <a:pPr algn="ctr" fontAlgn="b"/>
                      <a:r>
                        <a:rPr lang="en-US" sz="2000" b="1" i="0" u="none" strike="noStrike" dirty="0">
                          <a:solidFill>
                            <a:srgbClr val="FFFFFF"/>
                          </a:solidFill>
                          <a:effectLst/>
                          <a:latin typeface="Calibri"/>
                        </a:rPr>
                        <a:t>Definition</a:t>
                      </a:r>
                    </a:p>
                  </a:txBody>
                  <a:tcPr marL="12700" marR="12700" marT="12700"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crgbClr r="0" g="0" b="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4F81BD"/>
                    </a:solidFill>
                  </a:tcPr>
                </a:tc>
                <a:tc>
                  <a:txBody>
                    <a:bodyPr/>
                    <a:lstStyle/>
                    <a:p>
                      <a:pPr algn="ctr" fontAlgn="b"/>
                      <a:r>
                        <a:rPr lang="en-US" sz="2000" b="1" i="0" u="none" strike="noStrike" dirty="0">
                          <a:solidFill>
                            <a:srgbClr val="FFFFFF"/>
                          </a:solidFill>
                          <a:effectLst/>
                          <a:latin typeface="Calibri"/>
                        </a:rPr>
                        <a:t>Example</a:t>
                      </a:r>
                    </a:p>
                  </a:txBody>
                  <a:tcPr marL="12700" marR="12700" marT="12700" marB="0" anchor="b">
                    <a:lnL w="19050" cap="flat" cmpd="sng" algn="ctr">
                      <a:solidFill>
                        <a:srgbClr val="000000"/>
                      </a:solidFill>
                      <a:prstDash val="solid"/>
                      <a:round/>
                      <a:headEnd type="none" w="med" len="med"/>
                      <a:tailEnd type="none" w="med" len="med"/>
                    </a:lnL>
                    <a:lnR w="19050" cap="flat" cmpd="sng" algn="ctr">
                      <a:solidFill>
                        <a:scrgbClr r="0" g="0" b="0"/>
                      </a:solidFill>
                      <a:prstDash val="solid"/>
                      <a:round/>
                      <a:headEnd type="none" w="med" len="med"/>
                      <a:tailEnd type="none" w="med" len="med"/>
                    </a:lnR>
                    <a:lnT w="19050" cap="flat" cmpd="sng" algn="ctr">
                      <a:solidFill>
                        <a:scrgbClr r="0" g="0" b="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4F81BD"/>
                    </a:solidFill>
                  </a:tcPr>
                </a:tc>
              </a:tr>
              <a:tr h="1174119">
                <a:tc rowSpan="2">
                  <a:txBody>
                    <a:bodyPr/>
                    <a:lstStyle/>
                    <a:p>
                      <a:pPr algn="ctr" fontAlgn="ctr"/>
                      <a:r>
                        <a:rPr lang="en-US" sz="1600" b="1" i="0" u="none" strike="noStrike" dirty="0" smtClean="0">
                          <a:solidFill>
                            <a:srgbClr val="000000"/>
                          </a:solidFill>
                          <a:effectLst/>
                          <a:latin typeface="Calibri"/>
                        </a:rPr>
                        <a:t>Collaborative</a:t>
                      </a:r>
                      <a:endParaRPr lang="en-US" sz="1600" b="1" i="0" u="none" strike="noStrike" dirty="0">
                        <a:solidFill>
                          <a:srgbClr val="000000"/>
                        </a:solidFill>
                        <a:effectLst/>
                        <a:latin typeface="Calibri"/>
                      </a:endParaRPr>
                    </a:p>
                  </a:txBody>
                  <a:tcPr marL="12700" marR="12700" marT="12700" marB="0" anchor="ctr">
                    <a:lnL w="19050" cap="flat" cmpd="sng" algn="ctr">
                      <a:solidFill>
                        <a:scrgbClr r="0" g="0" b="0"/>
                      </a:solidFill>
                      <a:prstDash val="solid"/>
                      <a:round/>
                      <a:headEnd type="none" w="med" len="med"/>
                      <a:tailEnd type="none" w="med" len="med"/>
                    </a:lnL>
                    <a:lnR w="19050" cap="flat" cmpd="sng" algn="ctr">
                      <a:solidFill>
                        <a:prstClr val="white">
                          <a:lumMod val="50000"/>
                        </a:prstClr>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prstClr val="white">
                          <a:lumMod val="50000"/>
                        </a:prstClr>
                      </a:solidFill>
                      <a:prstDash val="solid"/>
                      <a:round/>
                      <a:headEnd type="none" w="med" len="med"/>
                      <a:tailEnd type="none" w="med" len="med"/>
                    </a:lnB>
                    <a:solidFill>
                      <a:schemeClr val="bg1"/>
                    </a:solidFill>
                  </a:tcPr>
                </a:tc>
                <a:tc>
                  <a:txBody>
                    <a:bodyPr/>
                    <a:lstStyle/>
                    <a:p>
                      <a:pPr algn="ctr" fontAlgn="ctr"/>
                      <a:r>
                        <a:rPr lang="en-US" sz="1600" b="1" i="0" u="none" strike="noStrike" dirty="0" smtClean="0">
                          <a:solidFill>
                            <a:schemeClr val="tx2">
                              <a:lumMod val="60000"/>
                              <a:lumOff val="40000"/>
                            </a:schemeClr>
                          </a:solidFill>
                          <a:effectLst/>
                          <a:latin typeface="Calibri"/>
                        </a:rPr>
                        <a:t>Sample Augmentation</a:t>
                      </a:r>
                    </a:p>
                    <a:p>
                      <a:pPr algn="ctr" fontAlgn="ctr"/>
                      <a:endParaRPr lang="en-US" sz="1600" b="1" i="0" u="none" strike="noStrike" dirty="0">
                        <a:solidFill>
                          <a:srgbClr val="000000"/>
                        </a:solidFill>
                        <a:effectLst/>
                        <a:latin typeface="Calibri"/>
                      </a:endParaRPr>
                    </a:p>
                  </a:txBody>
                  <a:tcPr marL="12700" marR="12700" marT="12700" marB="0" anchor="ctr">
                    <a:lnL w="19050" cap="flat" cmpd="sng" algn="ctr">
                      <a:solidFill>
                        <a:prstClr val="white">
                          <a:lumMod val="50000"/>
                        </a:prstClr>
                      </a:solidFill>
                      <a:prstDash val="solid"/>
                      <a:round/>
                      <a:headEnd type="none" w="med" len="med"/>
                      <a:tailEnd type="none" w="med" len="med"/>
                    </a:lnL>
                    <a:lnR w="19050" cap="flat" cmpd="sng" algn="ctr">
                      <a:solidFill>
                        <a:prstClr val="white">
                          <a:lumMod val="50000"/>
                        </a:prstClr>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prstClr val="white">
                          <a:lumMod val="50000"/>
                        </a:prstClr>
                      </a:solidFill>
                      <a:prstDash val="solid"/>
                      <a:round/>
                      <a:headEnd type="none" w="med" len="med"/>
                      <a:tailEnd type="none" w="med" len="med"/>
                    </a:lnB>
                    <a:solidFill>
                      <a:schemeClr val="bg1"/>
                    </a:solidFill>
                  </a:tcPr>
                </a:tc>
                <a:tc>
                  <a:txBody>
                    <a:bodyPr/>
                    <a:lstStyle/>
                    <a:p>
                      <a:pPr lvl="0" algn="l" fontAlgn="ctr"/>
                      <a:r>
                        <a:rPr lang="en-US" sz="1600" b="0" i="0" u="none" strike="noStrike" dirty="0">
                          <a:solidFill>
                            <a:srgbClr val="000000"/>
                          </a:solidFill>
                          <a:effectLst/>
                          <a:latin typeface="Calibri"/>
                        </a:rPr>
                        <a:t>GeneLab provides supplemental funding to a </a:t>
                      </a:r>
                      <a:r>
                        <a:rPr lang="en-US" sz="1600" b="0" i="0" u="none" strike="noStrike" dirty="0" smtClean="0">
                          <a:solidFill>
                            <a:srgbClr val="000000"/>
                          </a:solidFill>
                          <a:effectLst/>
                          <a:latin typeface="+mn-lt"/>
                        </a:rPr>
                        <a:t>NASA NRA solicited PI </a:t>
                      </a:r>
                      <a:r>
                        <a:rPr lang="en-US" sz="1600" b="0" i="0" u="none" strike="noStrike" dirty="0">
                          <a:solidFill>
                            <a:srgbClr val="000000"/>
                          </a:solidFill>
                          <a:effectLst/>
                          <a:latin typeface="Calibri"/>
                        </a:rPr>
                        <a:t>experiment to increase the quantity and/or </a:t>
                      </a:r>
                      <a:r>
                        <a:rPr lang="en-US" sz="1600" b="0" i="0" u="none" strike="noStrike" dirty="0" smtClean="0">
                          <a:solidFill>
                            <a:srgbClr val="000000"/>
                          </a:solidFill>
                          <a:effectLst/>
                          <a:latin typeface="Calibri"/>
                        </a:rPr>
                        <a:t>type </a:t>
                      </a:r>
                      <a:r>
                        <a:rPr lang="en-US" sz="1600" b="0" i="0" u="none" strike="noStrike" dirty="0">
                          <a:solidFill>
                            <a:srgbClr val="000000"/>
                          </a:solidFill>
                          <a:effectLst/>
                          <a:latin typeface="Calibri"/>
                        </a:rPr>
                        <a:t>of specimens to obtain dedicated </a:t>
                      </a:r>
                      <a:r>
                        <a:rPr lang="en-US" sz="1600" b="0" i="0" u="none" strike="noStrike" dirty="0" smtClean="0">
                          <a:solidFill>
                            <a:srgbClr val="000000"/>
                          </a:solidFill>
                          <a:effectLst/>
                          <a:latin typeface="Calibri"/>
                        </a:rPr>
                        <a:t>sample.  PI processes and submits</a:t>
                      </a:r>
                      <a:r>
                        <a:rPr lang="en-US" sz="1600" b="0" i="0" u="none" strike="noStrike" baseline="0" dirty="0" smtClean="0">
                          <a:solidFill>
                            <a:srgbClr val="000000"/>
                          </a:solidFill>
                          <a:effectLst/>
                          <a:latin typeface="Calibri"/>
                        </a:rPr>
                        <a:t> samples to </a:t>
                      </a:r>
                      <a:r>
                        <a:rPr lang="en-US" sz="1600" b="0" i="0" u="none" strike="noStrike" dirty="0" smtClean="0">
                          <a:solidFill>
                            <a:srgbClr val="000000"/>
                          </a:solidFill>
                          <a:effectLst/>
                          <a:latin typeface="Calibri"/>
                        </a:rPr>
                        <a:t>Omics facility . Augmentation requires </a:t>
                      </a:r>
                      <a:r>
                        <a:rPr lang="en-US" sz="1600" b="0" i="0" u="none" strike="noStrike" dirty="0">
                          <a:solidFill>
                            <a:srgbClr val="000000"/>
                          </a:solidFill>
                          <a:effectLst/>
                          <a:latin typeface="Calibri"/>
                        </a:rPr>
                        <a:t>NASA SLPS </a:t>
                      </a:r>
                      <a:r>
                        <a:rPr lang="en-US" sz="1600" b="0" i="0" u="none" strike="noStrike" dirty="0" smtClean="0">
                          <a:solidFill>
                            <a:srgbClr val="000000"/>
                          </a:solidFill>
                          <a:effectLst/>
                          <a:latin typeface="Calibri"/>
                        </a:rPr>
                        <a:t>experiment review </a:t>
                      </a:r>
                      <a:r>
                        <a:rPr lang="en-US" sz="1600" b="0" i="0" u="none" strike="noStrike" dirty="0">
                          <a:solidFill>
                            <a:srgbClr val="000000"/>
                          </a:solidFill>
                          <a:effectLst/>
                          <a:latin typeface="Calibri"/>
                        </a:rPr>
                        <a:t>approval </a:t>
                      </a:r>
                      <a:r>
                        <a:rPr lang="en-US" sz="1600" b="0" i="0" u="none" strike="noStrike" dirty="0" smtClean="0">
                          <a:solidFill>
                            <a:srgbClr val="000000"/>
                          </a:solidFill>
                          <a:effectLst/>
                          <a:latin typeface="Calibri"/>
                        </a:rPr>
                        <a:t>process.  </a:t>
                      </a:r>
                      <a:endParaRPr lang="en-US" sz="1600" b="0" i="0" u="none" strike="noStrike" dirty="0">
                        <a:solidFill>
                          <a:srgbClr val="000000"/>
                        </a:solidFill>
                        <a:effectLst/>
                        <a:latin typeface="Calibri"/>
                      </a:endParaRPr>
                    </a:p>
                  </a:txBody>
                  <a:tcPr marT="12700" marB="0" anchor="ctr">
                    <a:lnL w="19050" cap="flat" cmpd="sng" algn="ctr">
                      <a:solidFill>
                        <a:prstClr val="white">
                          <a:lumMod val="50000"/>
                        </a:prstClr>
                      </a:solidFill>
                      <a:prstDash val="solid"/>
                      <a:round/>
                      <a:headEnd type="none" w="med" len="med"/>
                      <a:tailEnd type="none" w="med" len="med"/>
                    </a:lnL>
                    <a:lnR w="19050" cap="flat" cmpd="sng" algn="ctr">
                      <a:solidFill>
                        <a:prstClr val="white">
                          <a:lumMod val="50000"/>
                        </a:prstClr>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prstClr val="white">
                          <a:lumMod val="50000"/>
                        </a:prstClr>
                      </a:solidFill>
                      <a:prstDash val="solid"/>
                      <a:round/>
                      <a:headEnd type="none" w="med" len="med"/>
                      <a:tailEnd type="none" w="med" len="med"/>
                    </a:lnB>
                    <a:solidFill>
                      <a:schemeClr val="bg1"/>
                    </a:solidFill>
                  </a:tcPr>
                </a:tc>
                <a:tc>
                  <a:txBody>
                    <a:bodyPr/>
                    <a:lstStyle/>
                    <a:p>
                      <a:pPr algn="ctr" fontAlgn="ctr"/>
                      <a:r>
                        <a:rPr lang="en-US" sz="1600" b="1" i="0" u="none" strike="noStrike" dirty="0">
                          <a:solidFill>
                            <a:srgbClr val="000000"/>
                          </a:solidFill>
                          <a:effectLst/>
                          <a:latin typeface="Calibri"/>
                        </a:rPr>
                        <a:t>BRIC-19 (plant</a:t>
                      </a:r>
                      <a:r>
                        <a:rPr lang="en-US" sz="1600" b="1" i="0" u="none" strike="noStrike" dirty="0" smtClean="0">
                          <a:solidFill>
                            <a:srgbClr val="000000"/>
                          </a:solidFill>
                          <a:effectLst/>
                          <a:latin typeface="Calibri"/>
                        </a:rPr>
                        <a:t>) S.</a:t>
                      </a:r>
                      <a:r>
                        <a:rPr lang="en-US" sz="1600" b="1" i="0" u="none" strike="noStrike" baseline="0" dirty="0" smtClean="0">
                          <a:solidFill>
                            <a:srgbClr val="000000"/>
                          </a:solidFill>
                          <a:effectLst/>
                          <a:latin typeface="Calibri"/>
                        </a:rPr>
                        <a:t> Gilroy</a:t>
                      </a:r>
                      <a:r>
                        <a:rPr lang="en-US" sz="1600" b="1" i="0" u="none" strike="noStrike" dirty="0" smtClean="0">
                          <a:solidFill>
                            <a:srgbClr val="000000"/>
                          </a:solidFill>
                          <a:effectLst/>
                          <a:latin typeface="Calibri"/>
                        </a:rPr>
                        <a:t> </a:t>
                      </a:r>
                    </a:p>
                    <a:p>
                      <a:pPr algn="ctr" fontAlgn="ctr"/>
                      <a:r>
                        <a:rPr lang="en-US" sz="1600" b="1" i="0" u="none" strike="noStrike" dirty="0" smtClean="0">
                          <a:solidFill>
                            <a:srgbClr val="000000"/>
                          </a:solidFill>
                          <a:effectLst/>
                          <a:latin typeface="Calibri"/>
                        </a:rPr>
                        <a:t>BRIC-20 </a:t>
                      </a:r>
                      <a:r>
                        <a:rPr lang="en-US" sz="1600" b="1" i="0" u="none" strike="noStrike" dirty="0">
                          <a:solidFill>
                            <a:srgbClr val="000000"/>
                          </a:solidFill>
                          <a:effectLst/>
                          <a:latin typeface="Calibri"/>
                        </a:rPr>
                        <a:t>(plant</a:t>
                      </a:r>
                      <a:r>
                        <a:rPr lang="en-US" sz="1600" b="1" i="0" u="none" strike="noStrike" dirty="0" smtClean="0">
                          <a:solidFill>
                            <a:srgbClr val="000000"/>
                          </a:solidFill>
                          <a:effectLst/>
                          <a:latin typeface="Calibri"/>
                        </a:rPr>
                        <a:t>) S. Wyatt</a:t>
                      </a:r>
                    </a:p>
                    <a:p>
                      <a:pPr algn="ctr" fontAlgn="ctr"/>
                      <a:endParaRPr lang="en-US" sz="1600" b="1" i="0" u="none" strike="noStrike" dirty="0" smtClean="0">
                        <a:solidFill>
                          <a:srgbClr val="000000"/>
                        </a:solidFill>
                        <a:effectLst/>
                        <a:latin typeface="Calibri"/>
                      </a:endParaRPr>
                    </a:p>
                    <a:p>
                      <a:pPr algn="ctr" fontAlgn="ctr"/>
                      <a:r>
                        <a:rPr lang="en-US" sz="1600" b="0" i="0" u="none" strike="noStrike" dirty="0" smtClean="0">
                          <a:solidFill>
                            <a:srgbClr val="000000"/>
                          </a:solidFill>
                          <a:effectLst/>
                          <a:latin typeface="Calibri"/>
                        </a:rPr>
                        <a:t>(BRIC</a:t>
                      </a:r>
                      <a:r>
                        <a:rPr lang="en-US" sz="1600" b="0" i="0" u="none" strike="noStrike" dirty="0">
                          <a:solidFill>
                            <a:srgbClr val="000000"/>
                          </a:solidFill>
                          <a:effectLst/>
                          <a:latin typeface="Calibri"/>
                        </a:rPr>
                        <a:t>=Biological Research in </a:t>
                      </a:r>
                      <a:r>
                        <a:rPr lang="en-US" sz="1600" b="0" i="0" u="none" strike="noStrike" dirty="0" smtClean="0">
                          <a:solidFill>
                            <a:srgbClr val="000000"/>
                          </a:solidFill>
                          <a:effectLst/>
                          <a:latin typeface="Calibri"/>
                        </a:rPr>
                        <a:t>Canisters)</a:t>
                      </a:r>
                      <a:endParaRPr lang="en-US" sz="1600" b="0" i="0" u="none" strike="noStrike" dirty="0">
                        <a:solidFill>
                          <a:srgbClr val="000000"/>
                        </a:solidFill>
                        <a:effectLst/>
                        <a:latin typeface="Calibri"/>
                      </a:endParaRPr>
                    </a:p>
                  </a:txBody>
                  <a:tcPr marR="12700" marT="12700" marB="0" anchor="ctr">
                    <a:lnL w="19050" cap="flat" cmpd="sng" algn="ctr">
                      <a:solidFill>
                        <a:prstClr val="white">
                          <a:lumMod val="50000"/>
                        </a:prstClr>
                      </a:solidFill>
                      <a:prstDash val="solid"/>
                      <a:round/>
                      <a:headEnd type="none" w="med" len="med"/>
                      <a:tailEnd type="none" w="med" len="med"/>
                    </a:lnL>
                    <a:lnR w="19050" cap="flat" cmpd="sng" algn="ctr">
                      <a:solidFill>
                        <a:scrgbClr r="0" g="0" b="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prstClr val="white">
                          <a:lumMod val="50000"/>
                        </a:prstClr>
                      </a:solidFill>
                      <a:prstDash val="solid"/>
                      <a:round/>
                      <a:headEnd type="none" w="med" len="med"/>
                      <a:tailEnd type="none" w="med" len="med"/>
                    </a:lnB>
                    <a:solidFill>
                      <a:schemeClr val="bg1"/>
                    </a:solidFill>
                  </a:tcPr>
                </a:tc>
              </a:tr>
              <a:tr h="1472214">
                <a:tc vMerge="1">
                  <a:txBody>
                    <a:bodyPr/>
                    <a:lstStyle/>
                    <a:p>
                      <a:endParaRPr lang="en-US"/>
                    </a:p>
                  </a:txBody>
                  <a:tcPr/>
                </a:tc>
                <a:tc>
                  <a:txBody>
                    <a:bodyPr/>
                    <a:lstStyle/>
                    <a:p>
                      <a:pPr algn="ctr" fontAlgn="ctr"/>
                      <a:r>
                        <a:rPr lang="en-US" sz="1600" b="1" i="0" u="none" strike="noStrike" dirty="0" smtClean="0">
                          <a:solidFill>
                            <a:srgbClr val="558ED5"/>
                          </a:solidFill>
                          <a:effectLst/>
                          <a:latin typeface="Calibri"/>
                        </a:rPr>
                        <a:t>Sample</a:t>
                      </a:r>
                    </a:p>
                    <a:p>
                      <a:pPr algn="ctr" fontAlgn="ctr"/>
                      <a:r>
                        <a:rPr lang="en-US" sz="1600" b="1" i="0" u="none" strike="noStrike" dirty="0" smtClean="0">
                          <a:solidFill>
                            <a:srgbClr val="558ED5"/>
                          </a:solidFill>
                          <a:effectLst/>
                          <a:latin typeface="Calibri"/>
                        </a:rPr>
                        <a:t>Sharing</a:t>
                      </a:r>
                      <a:endParaRPr lang="en-US" sz="1600" b="1" i="0" u="none" strike="noStrike" dirty="0">
                        <a:solidFill>
                          <a:srgbClr val="558ED5"/>
                        </a:solidFill>
                        <a:effectLst/>
                        <a:latin typeface="Calibri"/>
                      </a:endParaRPr>
                    </a:p>
                  </a:txBody>
                  <a:tcPr marL="12700" marR="12700" marT="12700" marB="0" anchor="ctr">
                    <a:lnL w="19050" cap="flat" cmpd="sng" algn="ctr">
                      <a:solidFill>
                        <a:prstClr val="white">
                          <a:lumMod val="50000"/>
                        </a:prstClr>
                      </a:solidFill>
                      <a:prstDash val="solid"/>
                      <a:round/>
                      <a:headEnd type="none" w="med" len="med"/>
                      <a:tailEnd type="none" w="med" len="med"/>
                    </a:lnL>
                    <a:lnR w="19050" cap="flat" cmpd="sng" algn="ctr">
                      <a:solidFill>
                        <a:prstClr val="white">
                          <a:lumMod val="50000"/>
                        </a:prstClr>
                      </a:solidFill>
                      <a:prstDash val="solid"/>
                      <a:round/>
                      <a:headEnd type="none" w="med" len="med"/>
                      <a:tailEnd type="none" w="med" len="med"/>
                    </a:lnR>
                    <a:lnT w="19050" cap="flat" cmpd="sng" algn="ctr">
                      <a:solidFill>
                        <a:prstClr val="white">
                          <a:lumMod val="50000"/>
                        </a:prstClr>
                      </a:solidFill>
                      <a:prstDash val="solid"/>
                      <a:round/>
                      <a:headEnd type="none" w="med" len="med"/>
                      <a:tailEnd type="none" w="med" len="med"/>
                    </a:lnT>
                    <a:lnB w="19050" cap="flat" cmpd="sng" algn="ctr">
                      <a:solidFill>
                        <a:prstClr val="white">
                          <a:lumMod val="50000"/>
                        </a:prstClr>
                      </a:solidFill>
                      <a:prstDash val="solid"/>
                      <a:round/>
                      <a:headEnd type="none" w="med" len="med"/>
                      <a:tailEnd type="none" w="med" len="med"/>
                    </a:lnB>
                    <a:solidFill>
                      <a:schemeClr val="bg1"/>
                    </a:solidFill>
                  </a:tcPr>
                </a:tc>
                <a:tc>
                  <a:txBody>
                    <a:bodyPr/>
                    <a:lstStyle/>
                    <a:p>
                      <a:pPr lvl="0" algn="l" fontAlgn="ctr"/>
                      <a:r>
                        <a:rPr lang="en-US" sz="1600" b="0" i="0" u="none" strike="noStrike" dirty="0">
                          <a:solidFill>
                            <a:srgbClr val="000000"/>
                          </a:solidFill>
                          <a:effectLst/>
                          <a:latin typeface="Calibri"/>
                        </a:rPr>
                        <a:t>GeneLab obtains specimens/samples </a:t>
                      </a:r>
                      <a:r>
                        <a:rPr lang="en-US" sz="1600" b="0" i="0" u="none" strike="noStrike" dirty="0" smtClean="0">
                          <a:solidFill>
                            <a:srgbClr val="000000"/>
                          </a:solidFill>
                          <a:effectLst/>
                          <a:latin typeface="Calibri"/>
                        </a:rPr>
                        <a:t>from</a:t>
                      </a:r>
                      <a:r>
                        <a:rPr lang="en-US" sz="1600" b="0" i="0" u="none" strike="noStrike" baseline="0" dirty="0" smtClean="0">
                          <a:solidFill>
                            <a:srgbClr val="000000"/>
                          </a:solidFill>
                          <a:effectLst/>
                          <a:latin typeface="Calibri"/>
                        </a:rPr>
                        <a:t> </a:t>
                      </a:r>
                      <a:r>
                        <a:rPr lang="en-US" sz="1600" b="0" i="0" u="none" strike="noStrike" dirty="0" smtClean="0">
                          <a:solidFill>
                            <a:srgbClr val="000000"/>
                          </a:solidFill>
                          <a:effectLst/>
                          <a:latin typeface="Calibri"/>
                        </a:rPr>
                        <a:t>the </a:t>
                      </a:r>
                      <a:r>
                        <a:rPr lang="en-US" sz="1600" b="0" i="0" u="none" strike="noStrike" dirty="0">
                          <a:solidFill>
                            <a:srgbClr val="000000"/>
                          </a:solidFill>
                          <a:effectLst/>
                          <a:latin typeface="Calibri"/>
                        </a:rPr>
                        <a:t>existing </a:t>
                      </a:r>
                      <a:r>
                        <a:rPr lang="en-US" sz="1600" b="0" i="0" u="none" strike="noStrike" dirty="0" smtClean="0">
                          <a:solidFill>
                            <a:srgbClr val="000000"/>
                          </a:solidFill>
                          <a:effectLst/>
                          <a:latin typeface="Calibri"/>
                        </a:rPr>
                        <a:t>PI </a:t>
                      </a:r>
                      <a:r>
                        <a:rPr lang="en-US" sz="1600" b="0" i="0" u="none" strike="noStrike" dirty="0">
                          <a:solidFill>
                            <a:srgbClr val="000000"/>
                          </a:solidFill>
                          <a:effectLst/>
                          <a:latin typeface="Calibri"/>
                        </a:rPr>
                        <a:t>space flight and ground control </a:t>
                      </a:r>
                      <a:r>
                        <a:rPr lang="en-US" sz="1600" b="0" i="0" u="none" strike="noStrike" dirty="0" smtClean="0">
                          <a:solidFill>
                            <a:srgbClr val="000000"/>
                          </a:solidFill>
                          <a:effectLst/>
                          <a:latin typeface="Calibri"/>
                        </a:rPr>
                        <a:t>experiment. Processing by</a:t>
                      </a:r>
                      <a:r>
                        <a:rPr lang="en-US" sz="1600" b="0" i="0" u="none" strike="noStrike" baseline="0" dirty="0" smtClean="0">
                          <a:solidFill>
                            <a:srgbClr val="000000"/>
                          </a:solidFill>
                          <a:effectLst/>
                          <a:latin typeface="Calibri"/>
                        </a:rPr>
                        <a:t> GL </a:t>
                      </a:r>
                      <a:r>
                        <a:rPr lang="en-US" sz="1600" b="0" i="0" u="none" strike="noStrike" dirty="0" smtClean="0">
                          <a:solidFill>
                            <a:srgbClr val="000000"/>
                          </a:solidFill>
                          <a:effectLst/>
                          <a:latin typeface="Calibri"/>
                        </a:rPr>
                        <a:t>and samples sent to omics facility.  Requires SLPS review. </a:t>
                      </a:r>
                      <a:endParaRPr lang="en-US" sz="1600" b="0" i="0" u="none" strike="noStrike" dirty="0">
                        <a:solidFill>
                          <a:srgbClr val="000000"/>
                        </a:solidFill>
                        <a:effectLst/>
                        <a:latin typeface="Calibri"/>
                      </a:endParaRPr>
                    </a:p>
                  </a:txBody>
                  <a:tcPr marT="12700" marB="0" anchor="ctr">
                    <a:lnL w="19050" cap="flat" cmpd="sng" algn="ctr">
                      <a:solidFill>
                        <a:prstClr val="white">
                          <a:lumMod val="50000"/>
                        </a:prstClr>
                      </a:solidFill>
                      <a:prstDash val="solid"/>
                      <a:round/>
                      <a:headEnd type="none" w="med" len="med"/>
                      <a:tailEnd type="none" w="med" len="med"/>
                    </a:lnL>
                    <a:lnR w="19050" cap="flat" cmpd="sng" algn="ctr">
                      <a:solidFill>
                        <a:prstClr val="white">
                          <a:lumMod val="50000"/>
                        </a:prstClr>
                      </a:solidFill>
                      <a:prstDash val="solid"/>
                      <a:round/>
                      <a:headEnd type="none" w="med" len="med"/>
                      <a:tailEnd type="none" w="med" len="med"/>
                    </a:lnR>
                    <a:lnT w="19050" cap="flat" cmpd="sng" algn="ctr">
                      <a:solidFill>
                        <a:prstClr val="white">
                          <a:lumMod val="50000"/>
                        </a:prstClr>
                      </a:solidFill>
                      <a:prstDash val="solid"/>
                      <a:round/>
                      <a:headEnd type="none" w="med" len="med"/>
                      <a:tailEnd type="none" w="med" len="med"/>
                    </a:lnT>
                    <a:lnB w="19050" cap="flat" cmpd="sng" algn="ctr">
                      <a:solidFill>
                        <a:prstClr val="white">
                          <a:lumMod val="50000"/>
                        </a:prstClr>
                      </a:solidFill>
                      <a:prstDash val="solid"/>
                      <a:round/>
                      <a:headEnd type="none" w="med" len="med"/>
                      <a:tailEnd type="none" w="med" len="med"/>
                    </a:lnB>
                    <a:solidFill>
                      <a:schemeClr val="bg1"/>
                    </a:solidFill>
                  </a:tcPr>
                </a:tc>
                <a:tc>
                  <a:txBody>
                    <a:bodyPr/>
                    <a:lstStyle/>
                    <a:p>
                      <a:pPr algn="ctr" fontAlgn="ctr"/>
                      <a:r>
                        <a:rPr lang="en-US" sz="1600" b="1" i="0" u="none" strike="noStrike" dirty="0">
                          <a:solidFill>
                            <a:srgbClr val="000000"/>
                          </a:solidFill>
                          <a:effectLst/>
                          <a:latin typeface="Calibri"/>
                        </a:rPr>
                        <a:t>Rodent </a:t>
                      </a:r>
                      <a:r>
                        <a:rPr lang="en-US" sz="1600" b="1" i="0" u="none" strike="noStrike" dirty="0" smtClean="0">
                          <a:solidFill>
                            <a:srgbClr val="000000"/>
                          </a:solidFill>
                          <a:effectLst/>
                          <a:latin typeface="Calibri"/>
                        </a:rPr>
                        <a:t>Research-1</a:t>
                      </a:r>
                      <a:r>
                        <a:rPr lang="en-US" sz="1600" b="1" i="0" u="none" strike="noStrike" baseline="0" dirty="0" smtClean="0">
                          <a:solidFill>
                            <a:srgbClr val="000000"/>
                          </a:solidFill>
                          <a:effectLst/>
                          <a:latin typeface="Calibri"/>
                        </a:rPr>
                        <a:t> </a:t>
                      </a:r>
                      <a:r>
                        <a:rPr lang="en-US" sz="1600" b="1" i="0" u="none" strike="noStrike" dirty="0" smtClean="0">
                          <a:solidFill>
                            <a:srgbClr val="000000"/>
                          </a:solidFill>
                          <a:effectLst/>
                          <a:latin typeface="Calibri"/>
                        </a:rPr>
                        <a:t>(mouse)</a:t>
                      </a:r>
                    </a:p>
                    <a:p>
                      <a:pPr algn="ctr" fontAlgn="ctr"/>
                      <a:r>
                        <a:rPr lang="en-US" sz="1600" b="1" i="0" u="none" strike="noStrike" dirty="0" smtClean="0">
                          <a:solidFill>
                            <a:srgbClr val="000000"/>
                          </a:solidFill>
                          <a:effectLst/>
                          <a:latin typeface="Calibri"/>
                        </a:rPr>
                        <a:t>RR1NASA (R. Globus)</a:t>
                      </a:r>
                    </a:p>
                    <a:p>
                      <a:pPr algn="ctr" fontAlgn="ctr"/>
                      <a:r>
                        <a:rPr lang="en-US" sz="1600" b="1" i="0" u="none" strike="noStrike" dirty="0" smtClean="0">
                          <a:solidFill>
                            <a:srgbClr val="000000"/>
                          </a:solidFill>
                          <a:effectLst/>
                          <a:latin typeface="Calibri"/>
                        </a:rPr>
                        <a:t>RR1</a:t>
                      </a:r>
                      <a:r>
                        <a:rPr lang="en-US" sz="1600" b="1" i="0" u="none" strike="noStrike" baseline="0" dirty="0" smtClean="0">
                          <a:solidFill>
                            <a:srgbClr val="000000"/>
                          </a:solidFill>
                          <a:effectLst/>
                          <a:latin typeface="Calibri"/>
                        </a:rPr>
                        <a:t>CASIS (S. </a:t>
                      </a:r>
                      <a:r>
                        <a:rPr lang="en-US" sz="1600" b="1" i="0" u="none" strike="noStrike" baseline="0" dirty="0" err="1" smtClean="0">
                          <a:solidFill>
                            <a:srgbClr val="000000"/>
                          </a:solidFill>
                          <a:effectLst/>
                          <a:latin typeface="Calibri"/>
                        </a:rPr>
                        <a:t>Cadena</a:t>
                      </a:r>
                      <a:r>
                        <a:rPr lang="en-US" sz="1600" b="1" i="0" u="none" strike="noStrike" baseline="0" dirty="0" smtClean="0">
                          <a:solidFill>
                            <a:srgbClr val="000000"/>
                          </a:solidFill>
                          <a:effectLst/>
                          <a:latin typeface="Calibri"/>
                        </a:rPr>
                        <a:t>)</a:t>
                      </a:r>
                      <a:endParaRPr lang="en-US" sz="1600" b="1" i="0" u="none" strike="noStrike" dirty="0" smtClean="0">
                        <a:solidFill>
                          <a:srgbClr val="000000"/>
                        </a:solidFill>
                        <a:effectLst/>
                        <a:latin typeface="Calibri"/>
                      </a:endParaRPr>
                    </a:p>
                  </a:txBody>
                  <a:tcPr marR="12700" marT="12700" marB="0" anchor="ctr">
                    <a:lnL w="19050" cap="flat" cmpd="sng" algn="ctr">
                      <a:solidFill>
                        <a:prstClr val="white">
                          <a:lumMod val="50000"/>
                        </a:prstClr>
                      </a:solidFill>
                      <a:prstDash val="solid"/>
                      <a:round/>
                      <a:headEnd type="none" w="med" len="med"/>
                      <a:tailEnd type="none" w="med" len="med"/>
                    </a:lnL>
                    <a:lnR w="19050" cap="flat" cmpd="sng" algn="ctr">
                      <a:solidFill>
                        <a:scrgbClr r="0" g="0" b="0"/>
                      </a:solidFill>
                      <a:prstDash val="solid"/>
                      <a:round/>
                      <a:headEnd type="none" w="med" len="med"/>
                      <a:tailEnd type="none" w="med" len="med"/>
                    </a:lnR>
                    <a:lnT w="19050" cap="flat" cmpd="sng" algn="ctr">
                      <a:solidFill>
                        <a:prstClr val="white">
                          <a:lumMod val="50000"/>
                        </a:prstClr>
                      </a:solidFill>
                      <a:prstDash val="solid"/>
                      <a:round/>
                      <a:headEnd type="none" w="med" len="med"/>
                      <a:tailEnd type="none" w="med" len="med"/>
                    </a:lnT>
                    <a:lnB w="19050" cap="flat" cmpd="sng" algn="ctr">
                      <a:solidFill>
                        <a:prstClr val="white">
                          <a:lumMod val="50000"/>
                        </a:prstClr>
                      </a:solidFill>
                      <a:prstDash val="solid"/>
                      <a:round/>
                      <a:headEnd type="none" w="med" len="med"/>
                      <a:tailEnd type="none" w="med" len="med"/>
                    </a:lnB>
                    <a:solidFill>
                      <a:schemeClr val="bg1"/>
                    </a:solidFill>
                  </a:tcPr>
                </a:tc>
              </a:tr>
              <a:tr h="1679436">
                <a:tc>
                  <a:txBody>
                    <a:bodyPr/>
                    <a:lstStyle/>
                    <a:p>
                      <a:pPr algn="ctr" fontAlgn="ctr"/>
                      <a:r>
                        <a:rPr lang="en-US" sz="1600" b="1" i="0" u="none" strike="noStrike" dirty="0" smtClean="0">
                          <a:solidFill>
                            <a:srgbClr val="000000"/>
                          </a:solidFill>
                          <a:effectLst/>
                          <a:latin typeface="Calibri"/>
                        </a:rPr>
                        <a:t>Dedicated</a:t>
                      </a:r>
                      <a:endParaRPr lang="en-US" sz="1600" b="1" i="0" u="none" strike="noStrike" dirty="0">
                        <a:solidFill>
                          <a:srgbClr val="000000"/>
                        </a:solidFill>
                        <a:effectLst/>
                        <a:latin typeface="Calibri"/>
                      </a:endParaRPr>
                    </a:p>
                  </a:txBody>
                  <a:tcPr marL="12700" marR="12700" marT="12700" marB="0" anchor="ctr">
                    <a:lnL w="19050" cap="flat" cmpd="sng" algn="ctr">
                      <a:solidFill>
                        <a:scrgbClr r="0" g="0" b="0"/>
                      </a:solidFill>
                      <a:prstDash val="solid"/>
                      <a:round/>
                      <a:headEnd type="none" w="med" len="med"/>
                      <a:tailEnd type="none" w="med" len="med"/>
                    </a:lnL>
                    <a:lnR w="19050" cap="flat" cmpd="sng" algn="ctr">
                      <a:solidFill>
                        <a:prstClr val="white">
                          <a:lumMod val="50000"/>
                        </a:prstClr>
                      </a:solidFill>
                      <a:prstDash val="solid"/>
                      <a:round/>
                      <a:headEnd type="none" w="med" len="med"/>
                      <a:tailEnd type="none" w="med" len="med"/>
                    </a:lnR>
                    <a:lnT w="19050" cap="flat" cmpd="sng" algn="ctr">
                      <a:solidFill>
                        <a:prstClr val="white">
                          <a:lumMod val="50000"/>
                        </a:prstClr>
                      </a:solidFill>
                      <a:prstDash val="solid"/>
                      <a:round/>
                      <a:headEnd type="none" w="med" len="med"/>
                      <a:tailEnd type="none" w="med" len="med"/>
                    </a:lnT>
                    <a:lnB w="19050" cap="flat" cmpd="sng" algn="ctr">
                      <a:solidFill>
                        <a:scrgbClr r="0" g="0" b="0"/>
                      </a:solidFill>
                      <a:prstDash val="solid"/>
                      <a:round/>
                      <a:headEnd type="none" w="med" len="med"/>
                      <a:tailEnd type="none" w="med" len="med"/>
                    </a:lnB>
                    <a:solidFill>
                      <a:schemeClr val="bg1"/>
                    </a:solidFill>
                  </a:tcPr>
                </a:tc>
                <a:tc>
                  <a:txBody>
                    <a:bodyPr/>
                    <a:lstStyle/>
                    <a:p>
                      <a:pPr algn="ctr" fontAlgn="ctr"/>
                      <a:r>
                        <a:rPr lang="en-US" sz="1600" b="1" i="0" u="none" strike="noStrike" dirty="0" smtClean="0">
                          <a:solidFill>
                            <a:srgbClr val="558ED5"/>
                          </a:solidFill>
                          <a:effectLst/>
                          <a:latin typeface="Calibri"/>
                        </a:rPr>
                        <a:t>Reference Experiment </a:t>
                      </a:r>
                      <a:endParaRPr lang="en-US" sz="1600" b="1" i="0" u="none" strike="noStrike" dirty="0">
                        <a:solidFill>
                          <a:srgbClr val="558ED5"/>
                        </a:solidFill>
                        <a:effectLst/>
                        <a:latin typeface="Calibri"/>
                      </a:endParaRPr>
                    </a:p>
                  </a:txBody>
                  <a:tcPr marL="12700" marR="12700" marT="12700" marB="0" anchor="ctr">
                    <a:lnL w="19050" cap="flat" cmpd="sng" algn="ctr">
                      <a:solidFill>
                        <a:prstClr val="white">
                          <a:lumMod val="50000"/>
                        </a:prstClr>
                      </a:solidFill>
                      <a:prstDash val="solid"/>
                      <a:round/>
                      <a:headEnd type="none" w="med" len="med"/>
                      <a:tailEnd type="none" w="med" len="med"/>
                    </a:lnL>
                    <a:lnR w="19050" cap="flat" cmpd="sng" algn="ctr">
                      <a:solidFill>
                        <a:prstClr val="white">
                          <a:lumMod val="50000"/>
                        </a:prstClr>
                      </a:solidFill>
                      <a:prstDash val="solid"/>
                      <a:round/>
                      <a:headEnd type="none" w="med" len="med"/>
                      <a:tailEnd type="none" w="med" len="med"/>
                    </a:lnR>
                    <a:lnT w="19050" cap="flat" cmpd="sng" algn="ctr">
                      <a:solidFill>
                        <a:prstClr val="white">
                          <a:lumMod val="50000"/>
                        </a:prstClr>
                      </a:solidFill>
                      <a:prstDash val="solid"/>
                      <a:round/>
                      <a:headEnd type="none" w="med" len="med"/>
                      <a:tailEnd type="none" w="med" len="med"/>
                    </a:lnT>
                    <a:lnB w="19050" cap="flat" cmpd="sng" algn="ctr">
                      <a:solidFill>
                        <a:scrgbClr r="0" g="0" b="0"/>
                      </a:solidFill>
                      <a:prstDash val="solid"/>
                      <a:round/>
                      <a:headEnd type="none" w="med" len="med"/>
                      <a:tailEnd type="none" w="med" len="med"/>
                    </a:lnB>
                    <a:solidFill>
                      <a:schemeClr val="bg1"/>
                    </a:solidFill>
                  </a:tcPr>
                </a:tc>
                <a:tc>
                  <a:txBody>
                    <a:bodyPr/>
                    <a:lstStyle/>
                    <a:p>
                      <a:pPr lvl="0" algn="l" fontAlgn="ctr"/>
                      <a:r>
                        <a:rPr lang="en-US" sz="1600" b="0" i="0" u="none" strike="noStrike" dirty="0">
                          <a:solidFill>
                            <a:srgbClr val="000000"/>
                          </a:solidFill>
                          <a:effectLst/>
                          <a:latin typeface="Calibri"/>
                        </a:rPr>
                        <a:t>Mission is entirely </a:t>
                      </a:r>
                      <a:r>
                        <a:rPr lang="en-US" sz="1600" b="0" i="0" u="none" strike="noStrike" dirty="0" smtClean="0">
                          <a:solidFill>
                            <a:srgbClr val="000000"/>
                          </a:solidFill>
                          <a:effectLst/>
                          <a:latin typeface="Calibri"/>
                        </a:rPr>
                        <a:t>dedicated </a:t>
                      </a:r>
                      <a:r>
                        <a:rPr lang="en-US" sz="1600" b="0" i="0" u="none" strike="noStrike" dirty="0">
                          <a:solidFill>
                            <a:srgbClr val="000000"/>
                          </a:solidFill>
                          <a:effectLst/>
                          <a:latin typeface="Calibri"/>
                        </a:rPr>
                        <a:t>to GeneLab </a:t>
                      </a:r>
                      <a:r>
                        <a:rPr lang="en-US" sz="1600" b="0" i="0" u="none" strike="noStrike" dirty="0" smtClean="0">
                          <a:solidFill>
                            <a:srgbClr val="000000"/>
                          </a:solidFill>
                          <a:effectLst/>
                          <a:latin typeface="Calibri"/>
                        </a:rPr>
                        <a:t>objectives</a:t>
                      </a:r>
                      <a:r>
                        <a:rPr lang="en-US" sz="1600" b="0" i="0" u="none" strike="noStrike" dirty="0">
                          <a:solidFill>
                            <a:srgbClr val="000000"/>
                          </a:solidFill>
                          <a:effectLst/>
                          <a:latin typeface="Calibri"/>
                        </a:rPr>
                        <a:t>; </a:t>
                      </a:r>
                      <a:r>
                        <a:rPr lang="en-US" sz="1600" b="0" i="0" u="none" strike="noStrike" dirty="0" smtClean="0">
                          <a:solidFill>
                            <a:srgbClr val="000000"/>
                          </a:solidFill>
                          <a:effectLst/>
                          <a:latin typeface="Calibri"/>
                        </a:rPr>
                        <a:t>an internal Science </a:t>
                      </a:r>
                      <a:r>
                        <a:rPr lang="en-US" sz="1600" b="0" i="0" u="none" strike="noStrike" dirty="0">
                          <a:solidFill>
                            <a:srgbClr val="000000"/>
                          </a:solidFill>
                          <a:effectLst/>
                          <a:latin typeface="Calibri"/>
                        </a:rPr>
                        <a:t>Definition Team (SDT</a:t>
                      </a:r>
                      <a:r>
                        <a:rPr lang="en-US" sz="1600" b="0" i="0" u="none" strike="noStrike" dirty="0" smtClean="0">
                          <a:solidFill>
                            <a:srgbClr val="000000"/>
                          </a:solidFill>
                          <a:effectLst/>
                          <a:latin typeface="Calibri"/>
                        </a:rPr>
                        <a:t>) of NASA civil servants uses community input (responders to 11/05/15 RFI) to</a:t>
                      </a:r>
                      <a:r>
                        <a:rPr lang="en-US" sz="1600" b="0" i="0" u="none" strike="noStrike" baseline="0" dirty="0" smtClean="0">
                          <a:solidFill>
                            <a:srgbClr val="000000"/>
                          </a:solidFill>
                          <a:effectLst/>
                          <a:latin typeface="Calibri"/>
                        </a:rPr>
                        <a:t> </a:t>
                      </a:r>
                      <a:r>
                        <a:rPr lang="en-US" sz="1600" b="0" i="0" u="none" strike="noStrike" dirty="0" smtClean="0">
                          <a:solidFill>
                            <a:srgbClr val="000000"/>
                          </a:solidFill>
                          <a:effectLst/>
                          <a:latin typeface="Calibri"/>
                        </a:rPr>
                        <a:t>design </a:t>
                      </a:r>
                      <a:r>
                        <a:rPr lang="en-US" sz="1600" b="0" i="0" u="none" strike="noStrike" dirty="0">
                          <a:solidFill>
                            <a:srgbClr val="000000"/>
                          </a:solidFill>
                          <a:effectLst/>
                          <a:latin typeface="Calibri"/>
                        </a:rPr>
                        <a:t>the </a:t>
                      </a:r>
                      <a:r>
                        <a:rPr lang="en-US" sz="1600" b="0" i="0" u="none" strike="noStrike" dirty="0" smtClean="0">
                          <a:solidFill>
                            <a:srgbClr val="000000"/>
                          </a:solidFill>
                          <a:effectLst/>
                          <a:latin typeface="Calibri"/>
                        </a:rPr>
                        <a:t>experiment;</a:t>
                      </a:r>
                      <a:r>
                        <a:rPr lang="en-US" sz="1600" b="0" i="0" u="none" strike="noStrike" baseline="0" dirty="0" smtClean="0">
                          <a:solidFill>
                            <a:srgbClr val="000000"/>
                          </a:solidFill>
                          <a:effectLst/>
                          <a:latin typeface="Calibri"/>
                        </a:rPr>
                        <a:t> subsequent workshop with SLS community/CASIS will finalize design of the experiment. </a:t>
                      </a:r>
                      <a:endParaRPr lang="en-US" sz="1600" b="0" i="0" u="none" strike="noStrike" dirty="0">
                        <a:solidFill>
                          <a:srgbClr val="000000"/>
                        </a:solidFill>
                        <a:effectLst/>
                        <a:latin typeface="Calibri"/>
                      </a:endParaRPr>
                    </a:p>
                  </a:txBody>
                  <a:tcPr marT="12700" marB="0" anchor="ctr">
                    <a:lnL w="19050" cap="flat" cmpd="sng" algn="ctr">
                      <a:solidFill>
                        <a:prstClr val="white">
                          <a:lumMod val="50000"/>
                        </a:prstClr>
                      </a:solidFill>
                      <a:prstDash val="solid"/>
                      <a:round/>
                      <a:headEnd type="none" w="med" len="med"/>
                      <a:tailEnd type="none" w="med" len="med"/>
                    </a:lnL>
                    <a:lnR w="19050" cap="flat" cmpd="sng" algn="ctr">
                      <a:solidFill>
                        <a:prstClr val="white">
                          <a:lumMod val="50000"/>
                        </a:prstClr>
                      </a:solidFill>
                      <a:prstDash val="solid"/>
                      <a:round/>
                      <a:headEnd type="none" w="med" len="med"/>
                      <a:tailEnd type="none" w="med" len="med"/>
                    </a:lnR>
                    <a:lnT w="19050" cap="flat" cmpd="sng" algn="ctr">
                      <a:solidFill>
                        <a:prstClr val="white">
                          <a:lumMod val="50000"/>
                        </a:prstClr>
                      </a:solidFill>
                      <a:prstDash val="solid"/>
                      <a:round/>
                      <a:headEnd type="none" w="med" len="med"/>
                      <a:tailEnd type="none" w="med" len="med"/>
                    </a:lnT>
                    <a:lnB w="19050" cap="flat" cmpd="sng" algn="ctr">
                      <a:solidFill>
                        <a:scrgbClr r="0" g="0" b="0"/>
                      </a:solidFill>
                      <a:prstDash val="solid"/>
                      <a:round/>
                      <a:headEnd type="none" w="med" len="med"/>
                      <a:tailEnd type="none" w="med" len="med"/>
                    </a:lnB>
                    <a:solidFill>
                      <a:schemeClr val="bg1"/>
                    </a:solidFill>
                  </a:tcPr>
                </a:tc>
                <a:tc>
                  <a:txBody>
                    <a:bodyPr/>
                    <a:lstStyle/>
                    <a:p>
                      <a:pPr algn="ctr" fontAlgn="ctr"/>
                      <a:r>
                        <a:rPr lang="en-US" sz="1600" b="1" i="0" u="none" strike="noStrike" dirty="0" smtClean="0">
                          <a:solidFill>
                            <a:srgbClr val="000000"/>
                          </a:solidFill>
                          <a:effectLst/>
                          <a:latin typeface="Calibri"/>
                        </a:rPr>
                        <a:t>RFI Released 11/05/15</a:t>
                      </a:r>
                    </a:p>
                    <a:p>
                      <a:pPr algn="ctr" fontAlgn="ctr"/>
                      <a:r>
                        <a:rPr lang="en-US" sz="1600" b="1" dirty="0" smtClean="0"/>
                        <a:t>NNH16ZTT001L</a:t>
                      </a:r>
                      <a:endParaRPr lang="en-US" sz="1600" b="1" i="0" u="none" strike="noStrike" dirty="0">
                        <a:solidFill>
                          <a:srgbClr val="000000"/>
                        </a:solidFill>
                        <a:effectLst/>
                        <a:latin typeface="Calibri"/>
                      </a:endParaRPr>
                    </a:p>
                  </a:txBody>
                  <a:tcPr marL="12700" marR="12700" marT="12700" marB="0" anchor="ctr">
                    <a:lnL w="19050" cap="flat" cmpd="sng" algn="ctr">
                      <a:solidFill>
                        <a:prstClr val="white">
                          <a:lumMod val="50000"/>
                        </a:prstClr>
                      </a:solidFill>
                      <a:prstDash val="solid"/>
                      <a:round/>
                      <a:headEnd type="none" w="med" len="med"/>
                      <a:tailEnd type="none" w="med" len="med"/>
                    </a:lnL>
                    <a:lnR w="19050" cap="flat" cmpd="sng" algn="ctr">
                      <a:solidFill>
                        <a:scrgbClr r="0" g="0" b="0"/>
                      </a:solidFill>
                      <a:prstDash val="solid"/>
                      <a:round/>
                      <a:headEnd type="none" w="med" len="med"/>
                      <a:tailEnd type="none" w="med" len="med"/>
                    </a:lnR>
                    <a:lnT w="19050" cap="flat" cmpd="sng" algn="ctr">
                      <a:solidFill>
                        <a:prstClr val="white">
                          <a:lumMod val="50000"/>
                        </a:prstClr>
                      </a:solidFill>
                      <a:prstDash val="solid"/>
                      <a:round/>
                      <a:headEnd type="none" w="med" len="med"/>
                      <a:tailEnd type="none" w="med" len="med"/>
                    </a:lnT>
                    <a:lnB w="19050" cap="flat" cmpd="sng" algn="ctr">
                      <a:solidFill>
                        <a:scrgbClr r="0" g="0" b="0"/>
                      </a:solidFill>
                      <a:prstDash val="solid"/>
                      <a:round/>
                      <a:headEnd type="none" w="med" len="med"/>
                      <a:tailEnd type="none" w="med" len="med"/>
                    </a:lnB>
                    <a:solidFill>
                      <a:schemeClr val="bg1"/>
                    </a:solidFill>
                  </a:tcPr>
                </a:tc>
              </a:tr>
            </a:tbl>
          </a:graphicData>
        </a:graphic>
      </p:graphicFrame>
      <p:pic>
        <p:nvPicPr>
          <p:cNvPr id="11" name="Picture 10"/>
          <p:cNvPicPr>
            <a:picLocks noChangeAspect="1"/>
          </p:cNvPicPr>
          <p:nvPr/>
        </p:nvPicPr>
        <p:blipFill>
          <a:blip r:embed="rId3"/>
          <a:stretch>
            <a:fillRect/>
          </a:stretch>
        </p:blipFill>
        <p:spPr>
          <a:xfrm>
            <a:off x="12472" y="0"/>
            <a:ext cx="3334494" cy="610178"/>
          </a:xfrm>
          <a:prstGeom prst="rect">
            <a:avLst/>
          </a:prstGeom>
        </p:spPr>
      </p:pic>
      <p:sp>
        <p:nvSpPr>
          <p:cNvPr id="12" name="Date Placeholder 3"/>
          <p:cNvSpPr>
            <a:spLocks noGrp="1"/>
          </p:cNvSpPr>
          <p:nvPr>
            <p:ph type="dt" sz="half" idx="10"/>
          </p:nvPr>
        </p:nvSpPr>
        <p:spPr>
          <a:xfrm>
            <a:off x="487440" y="6433831"/>
            <a:ext cx="2133600" cy="365125"/>
          </a:xfrm>
          <a:prstGeom prst="rect">
            <a:avLst/>
          </a:prstGeom>
        </p:spPr>
        <p:txBody>
          <a:bodyPr anchor="ctr"/>
          <a:lstStyle>
            <a:lvl1pPr>
              <a:defRPr sz="1400" b="1">
                <a:latin typeface="Arial"/>
                <a:cs typeface="Arial"/>
              </a:defRPr>
            </a:lvl1pPr>
          </a:lstStyle>
          <a:p>
            <a:r>
              <a:rPr lang="en-US" smtClean="0">
                <a:solidFill>
                  <a:prstClr val="black"/>
                </a:solidFill>
              </a:rPr>
              <a:t>14 January 2016</a:t>
            </a:r>
            <a:endParaRPr lang="en-US" dirty="0">
              <a:solidFill>
                <a:prstClr val="black"/>
              </a:solidFill>
            </a:endParaRPr>
          </a:p>
        </p:txBody>
      </p:sp>
      <p:sp>
        <p:nvSpPr>
          <p:cNvPr id="13" name="Footer Placeholder 4"/>
          <p:cNvSpPr>
            <a:spLocks noGrp="1"/>
          </p:cNvSpPr>
          <p:nvPr>
            <p:ph type="ftr" sz="quarter" idx="11"/>
          </p:nvPr>
        </p:nvSpPr>
        <p:spPr>
          <a:xfrm>
            <a:off x="2811452" y="6433831"/>
            <a:ext cx="5024720" cy="365125"/>
          </a:xfrm>
        </p:spPr>
        <p:txBody>
          <a:bodyPr/>
          <a:lstStyle>
            <a:lvl1pPr>
              <a:defRPr sz="1400" b="1">
                <a:latin typeface="Arial"/>
                <a:cs typeface="Arial"/>
              </a:defRPr>
            </a:lvl1pPr>
          </a:lstStyle>
          <a:p>
            <a:pPr algn="l"/>
            <a:r>
              <a:rPr lang="en-US" dirty="0">
                <a:solidFill>
                  <a:schemeClr val="tx1"/>
                </a:solidFill>
              </a:rPr>
              <a:t>Collaborative Life Sciences Data </a:t>
            </a:r>
            <a:r>
              <a:rPr lang="en-US" dirty="0" smtClean="0">
                <a:solidFill>
                  <a:schemeClr val="tx1"/>
                </a:solidFill>
              </a:rPr>
              <a:t>TEM </a:t>
            </a:r>
            <a:r>
              <a:rPr lang="en-US" dirty="0" smtClean="0">
                <a:solidFill>
                  <a:srgbClr val="000000"/>
                </a:solidFill>
              </a:rPr>
              <a:t>| Michael Skidmore                      </a:t>
            </a:r>
            <a:endParaRPr lang="en-US" dirty="0">
              <a:solidFill>
                <a:srgbClr val="000000"/>
              </a:solidFill>
            </a:endParaRPr>
          </a:p>
        </p:txBody>
      </p:sp>
      <p:sp>
        <p:nvSpPr>
          <p:cNvPr id="15" name="Slide Number Placeholder 1"/>
          <p:cNvSpPr>
            <a:spLocks noGrp="1"/>
          </p:cNvSpPr>
          <p:nvPr>
            <p:ph type="sldNum" sz="quarter" idx="12"/>
          </p:nvPr>
        </p:nvSpPr>
        <p:spPr>
          <a:xfrm>
            <a:off x="7786154" y="6433831"/>
            <a:ext cx="1085865" cy="365125"/>
          </a:xfrm>
        </p:spPr>
        <p:txBody>
          <a:bodyPr/>
          <a:lstStyle/>
          <a:p>
            <a:fld id="{ACB3FC3A-BC2E-574C-8636-F1DF04588B6F}" type="slidenum">
              <a:rPr lang="en-US" sz="1400" b="1" smtClean="0">
                <a:solidFill>
                  <a:srgbClr val="000000"/>
                </a:solidFill>
                <a:latin typeface="Arial"/>
                <a:cs typeface="Arial"/>
              </a:rPr>
              <a:pPr/>
              <a:t>8</a:t>
            </a:fld>
            <a:endParaRPr lang="en-US" sz="1400" b="1" dirty="0">
              <a:solidFill>
                <a:srgbClr val="000000"/>
              </a:solidFill>
              <a:latin typeface="Arial"/>
              <a:cs typeface="Arial"/>
            </a:endParaRPr>
          </a:p>
        </p:txBody>
      </p:sp>
    </p:spTree>
    <p:extLst>
      <p:ext uri="{BB962C8B-B14F-4D97-AF65-F5344CB8AC3E}">
        <p14:creationId xmlns:p14="http://schemas.microsoft.com/office/powerpoint/2010/main" val="34033837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a:xfrm>
            <a:off x="5105400" y="1932502"/>
            <a:ext cx="3505200" cy="3581400"/>
          </a:xfrm>
          <a:prstGeom prst="ellipse">
            <a:avLst/>
          </a:prstGeom>
          <a:solidFill>
            <a:srgbClr val="008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0000"/>
              </a:solidFill>
              <a:latin typeface="Calibri"/>
            </a:endParaRPr>
          </a:p>
        </p:txBody>
      </p:sp>
      <p:sp>
        <p:nvSpPr>
          <p:cNvPr id="6" name="Oval 5"/>
          <p:cNvSpPr/>
          <p:nvPr/>
        </p:nvSpPr>
        <p:spPr>
          <a:xfrm>
            <a:off x="609600" y="1932502"/>
            <a:ext cx="3657600" cy="3581400"/>
          </a:xfrm>
          <a:prstGeom prst="ellipse">
            <a:avLst/>
          </a:prstGeom>
          <a:solidFill>
            <a:srgbClr val="008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solidFill>
                <a:prstClr val="white"/>
              </a:solidFill>
              <a:latin typeface="Calibri"/>
            </a:endParaRPr>
          </a:p>
          <a:p>
            <a:pPr algn="ctr"/>
            <a:endParaRPr lang="en-US" dirty="0">
              <a:solidFill>
                <a:prstClr val="white"/>
              </a:solidFill>
              <a:latin typeface="Calibri"/>
            </a:endParaRPr>
          </a:p>
          <a:p>
            <a:pPr marL="285750" indent="-285750" algn="ctr">
              <a:buFontTx/>
              <a:buChar char="-"/>
            </a:pPr>
            <a:endParaRPr lang="en-US" dirty="0" smtClean="0">
              <a:solidFill>
                <a:prstClr val="white"/>
              </a:solidFill>
              <a:latin typeface="Calibri"/>
            </a:endParaRPr>
          </a:p>
          <a:p>
            <a:pPr algn="ctr"/>
            <a:endParaRPr lang="en-US" dirty="0">
              <a:solidFill>
                <a:prstClr val="white"/>
              </a:solidFill>
              <a:latin typeface="Calibri"/>
            </a:endParaRPr>
          </a:p>
        </p:txBody>
      </p:sp>
      <p:sp>
        <p:nvSpPr>
          <p:cNvPr id="7" name="Plus 6"/>
          <p:cNvSpPr/>
          <p:nvPr/>
        </p:nvSpPr>
        <p:spPr>
          <a:xfrm>
            <a:off x="4404480" y="3448036"/>
            <a:ext cx="609600" cy="609600"/>
          </a:xfrm>
          <a:prstGeom prst="mathPlus">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a:solidFill>
                  <a:srgbClr val="000000"/>
                </a:solidFill>
              </a:ln>
              <a:solidFill>
                <a:prstClr val="white"/>
              </a:solidFill>
              <a:latin typeface="Calibri"/>
            </a:endParaRPr>
          </a:p>
        </p:txBody>
      </p:sp>
      <p:sp>
        <p:nvSpPr>
          <p:cNvPr id="8" name="Oval 7"/>
          <p:cNvSpPr/>
          <p:nvPr/>
        </p:nvSpPr>
        <p:spPr>
          <a:xfrm>
            <a:off x="2514599" y="2465902"/>
            <a:ext cx="1263287" cy="1286934"/>
          </a:xfrm>
          <a:prstGeom prst="ellipse">
            <a:avLst/>
          </a:prstGeom>
          <a:solidFill>
            <a:schemeClr val="bg1">
              <a:lumMod val="9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00" b="1" dirty="0" smtClean="0">
                <a:solidFill>
                  <a:srgbClr val="000000"/>
                </a:solidFill>
                <a:latin typeface="Calibri"/>
              </a:rPr>
              <a:t>Legacy Data</a:t>
            </a:r>
          </a:p>
        </p:txBody>
      </p:sp>
      <p:sp>
        <p:nvSpPr>
          <p:cNvPr id="9" name="Oval 8"/>
          <p:cNvSpPr/>
          <p:nvPr/>
        </p:nvSpPr>
        <p:spPr>
          <a:xfrm>
            <a:off x="1041400" y="3824801"/>
            <a:ext cx="1394178" cy="1300339"/>
          </a:xfrm>
          <a:prstGeom prst="ellipse">
            <a:avLst/>
          </a:prstGeom>
          <a:solidFill>
            <a:srgbClr val="F2F2F2"/>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00" b="1" dirty="0" smtClean="0">
              <a:solidFill>
                <a:srgbClr val="000000"/>
              </a:solidFill>
              <a:latin typeface="Calibri"/>
            </a:endParaRPr>
          </a:p>
          <a:p>
            <a:pPr algn="ctr"/>
            <a:r>
              <a:rPr lang="en-US" sz="1300" b="1" dirty="0" smtClean="0">
                <a:solidFill>
                  <a:srgbClr val="000000"/>
                </a:solidFill>
                <a:latin typeface="Calibri"/>
              </a:rPr>
              <a:t>Meticulous</a:t>
            </a:r>
          </a:p>
          <a:p>
            <a:pPr algn="ctr"/>
            <a:r>
              <a:rPr lang="en-US" sz="1300" b="1" dirty="0" smtClean="0">
                <a:solidFill>
                  <a:srgbClr val="000000"/>
                </a:solidFill>
                <a:latin typeface="Calibri"/>
              </a:rPr>
              <a:t>Curation</a:t>
            </a:r>
            <a:endParaRPr lang="en-US" sz="1300" b="1" dirty="0">
              <a:solidFill>
                <a:srgbClr val="000000"/>
              </a:solidFill>
              <a:latin typeface="Calibri"/>
            </a:endParaRPr>
          </a:p>
        </p:txBody>
      </p:sp>
      <p:sp>
        <p:nvSpPr>
          <p:cNvPr id="10" name="Oval 9"/>
          <p:cNvSpPr/>
          <p:nvPr/>
        </p:nvSpPr>
        <p:spPr>
          <a:xfrm>
            <a:off x="1006919" y="2420548"/>
            <a:ext cx="1367367" cy="1286934"/>
          </a:xfrm>
          <a:prstGeom prst="ellipse">
            <a:avLst/>
          </a:prstGeom>
          <a:solidFill>
            <a:srgbClr val="F2F2F2"/>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00" b="1" dirty="0" smtClean="0">
                <a:solidFill>
                  <a:srgbClr val="000000"/>
                </a:solidFill>
                <a:latin typeface="Calibri"/>
              </a:rPr>
              <a:t>Data Repository</a:t>
            </a:r>
            <a:endParaRPr lang="en-US" sz="1300" b="1" dirty="0">
              <a:solidFill>
                <a:srgbClr val="000000"/>
              </a:solidFill>
              <a:latin typeface="Calibri"/>
            </a:endParaRPr>
          </a:p>
        </p:txBody>
      </p:sp>
      <p:sp>
        <p:nvSpPr>
          <p:cNvPr id="11" name="TextBox 10"/>
          <p:cNvSpPr txBox="1"/>
          <p:nvPr/>
        </p:nvSpPr>
        <p:spPr>
          <a:xfrm>
            <a:off x="2540518" y="4173873"/>
            <a:ext cx="1405684" cy="830997"/>
          </a:xfrm>
          <a:prstGeom prst="rect">
            <a:avLst/>
          </a:prstGeom>
          <a:noFill/>
        </p:spPr>
        <p:txBody>
          <a:bodyPr wrap="square" rtlCol="0">
            <a:spAutoFit/>
          </a:bodyPr>
          <a:lstStyle/>
          <a:p>
            <a:pPr algn="ctr"/>
            <a:r>
              <a:rPr lang="en-US" sz="2400" b="1" dirty="0" smtClean="0">
                <a:solidFill>
                  <a:prstClr val="white"/>
                </a:solidFill>
                <a:latin typeface="Calibri"/>
              </a:rPr>
              <a:t>DATA </a:t>
            </a:r>
          </a:p>
          <a:p>
            <a:pPr algn="ctr"/>
            <a:r>
              <a:rPr lang="en-US" sz="2400" b="1" dirty="0" smtClean="0">
                <a:solidFill>
                  <a:prstClr val="white"/>
                </a:solidFill>
                <a:latin typeface="Calibri"/>
              </a:rPr>
              <a:t>SYSTEM</a:t>
            </a:r>
            <a:endParaRPr lang="en-US" sz="2400" b="1" dirty="0">
              <a:solidFill>
                <a:prstClr val="white"/>
              </a:solidFill>
              <a:latin typeface="Calibri"/>
            </a:endParaRPr>
          </a:p>
        </p:txBody>
      </p:sp>
      <p:sp>
        <p:nvSpPr>
          <p:cNvPr id="12" name="Oval 11"/>
          <p:cNvSpPr/>
          <p:nvPr/>
        </p:nvSpPr>
        <p:spPr>
          <a:xfrm>
            <a:off x="6858000" y="3837501"/>
            <a:ext cx="1447800" cy="1367367"/>
          </a:xfrm>
          <a:prstGeom prst="ellipse">
            <a:avLst/>
          </a:prstGeom>
          <a:solidFill>
            <a:srgbClr val="F2F2F2"/>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00" b="1" dirty="0" smtClean="0">
              <a:solidFill>
                <a:srgbClr val="000000"/>
              </a:solidFill>
              <a:latin typeface="Calibri"/>
            </a:endParaRPr>
          </a:p>
          <a:p>
            <a:pPr algn="ctr"/>
            <a:r>
              <a:rPr lang="en-US" sz="1300" b="1" dirty="0" err="1" smtClean="0">
                <a:solidFill>
                  <a:srgbClr val="000000"/>
                </a:solidFill>
                <a:latin typeface="Calibri"/>
              </a:rPr>
              <a:t>Omics</a:t>
            </a:r>
            <a:r>
              <a:rPr lang="en-US" sz="1300" b="1" dirty="0" smtClean="0">
                <a:solidFill>
                  <a:srgbClr val="000000"/>
                </a:solidFill>
                <a:latin typeface="Calibri"/>
              </a:rPr>
              <a:t> Prep</a:t>
            </a:r>
          </a:p>
          <a:p>
            <a:pPr algn="ctr"/>
            <a:r>
              <a:rPr lang="en-US" sz="1300" b="1" dirty="0" smtClean="0">
                <a:solidFill>
                  <a:srgbClr val="000000"/>
                </a:solidFill>
                <a:latin typeface="Calibri"/>
              </a:rPr>
              <a:t>Laboratory</a:t>
            </a:r>
            <a:endParaRPr lang="en-US" sz="1300" b="1" dirty="0">
              <a:solidFill>
                <a:srgbClr val="000000"/>
              </a:solidFill>
              <a:latin typeface="Calibri"/>
            </a:endParaRPr>
          </a:p>
        </p:txBody>
      </p:sp>
      <p:sp>
        <p:nvSpPr>
          <p:cNvPr id="13" name="Oval 12"/>
          <p:cNvSpPr/>
          <p:nvPr/>
        </p:nvSpPr>
        <p:spPr>
          <a:xfrm>
            <a:off x="6934799" y="2329839"/>
            <a:ext cx="1367367" cy="1367367"/>
          </a:xfrm>
          <a:prstGeom prst="ellipse">
            <a:avLst/>
          </a:prstGeom>
          <a:solidFill>
            <a:srgbClr val="F2F2F2"/>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00" b="1" dirty="0" smtClean="0">
                <a:solidFill>
                  <a:srgbClr val="000000"/>
                </a:solidFill>
                <a:latin typeface="Calibri"/>
              </a:rPr>
              <a:t>Flight Payloads</a:t>
            </a:r>
            <a:endParaRPr lang="en-US" sz="1300" b="1" dirty="0">
              <a:solidFill>
                <a:srgbClr val="000000"/>
              </a:solidFill>
              <a:latin typeface="Calibri"/>
            </a:endParaRPr>
          </a:p>
        </p:txBody>
      </p:sp>
      <p:sp>
        <p:nvSpPr>
          <p:cNvPr id="14" name="Oval 13"/>
          <p:cNvSpPr/>
          <p:nvPr/>
        </p:nvSpPr>
        <p:spPr>
          <a:xfrm>
            <a:off x="5562599" y="2313501"/>
            <a:ext cx="1367367" cy="1367367"/>
          </a:xfrm>
          <a:prstGeom prst="ellipse">
            <a:avLst/>
          </a:prstGeom>
          <a:solidFill>
            <a:srgbClr val="F2F2F2"/>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00" b="1" dirty="0" smtClean="0">
                <a:solidFill>
                  <a:srgbClr val="000000"/>
                </a:solidFill>
                <a:latin typeface="Calibri"/>
              </a:rPr>
              <a:t>Reference</a:t>
            </a:r>
          </a:p>
          <a:p>
            <a:pPr algn="ctr"/>
            <a:r>
              <a:rPr lang="en-US" sz="1300" b="1" dirty="0" smtClean="0">
                <a:solidFill>
                  <a:srgbClr val="000000"/>
                </a:solidFill>
                <a:latin typeface="Calibri"/>
              </a:rPr>
              <a:t>Missions</a:t>
            </a:r>
            <a:endParaRPr lang="en-US" sz="1300" b="1" dirty="0">
              <a:solidFill>
                <a:srgbClr val="000000"/>
              </a:solidFill>
              <a:latin typeface="Calibri"/>
            </a:endParaRPr>
          </a:p>
        </p:txBody>
      </p:sp>
      <p:sp>
        <p:nvSpPr>
          <p:cNvPr id="15" name="TextBox 14"/>
          <p:cNvSpPr txBox="1"/>
          <p:nvPr/>
        </p:nvSpPr>
        <p:spPr>
          <a:xfrm>
            <a:off x="5331498" y="4376024"/>
            <a:ext cx="1512864" cy="461665"/>
          </a:xfrm>
          <a:prstGeom prst="rect">
            <a:avLst/>
          </a:prstGeom>
          <a:noFill/>
        </p:spPr>
        <p:txBody>
          <a:bodyPr wrap="square" rtlCol="0">
            <a:spAutoFit/>
          </a:bodyPr>
          <a:lstStyle/>
          <a:p>
            <a:pPr algn="ctr"/>
            <a:r>
              <a:rPr lang="en-US" sz="2400" b="1" dirty="0" smtClean="0">
                <a:solidFill>
                  <a:srgbClr val="FFFFFF"/>
                </a:solidFill>
                <a:latin typeface="Calibri"/>
              </a:rPr>
              <a:t>SCIENCE</a:t>
            </a:r>
            <a:endParaRPr lang="en-US" sz="2400" b="1" dirty="0">
              <a:solidFill>
                <a:srgbClr val="FFFFFF"/>
              </a:solidFill>
              <a:latin typeface="Calibri"/>
            </a:endParaRPr>
          </a:p>
        </p:txBody>
      </p:sp>
      <p:sp>
        <p:nvSpPr>
          <p:cNvPr id="16" name="Oval 15"/>
          <p:cNvSpPr/>
          <p:nvPr/>
        </p:nvSpPr>
        <p:spPr>
          <a:xfrm>
            <a:off x="1768919" y="3182548"/>
            <a:ext cx="1263287" cy="1286934"/>
          </a:xfrm>
          <a:prstGeom prst="ellipse">
            <a:avLst/>
          </a:prstGeom>
          <a:solidFill>
            <a:schemeClr val="bg1">
              <a:lumMod val="9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00" b="1" dirty="0" smtClean="0">
                <a:solidFill>
                  <a:srgbClr val="000000"/>
                </a:solidFill>
                <a:latin typeface="Calibri"/>
              </a:rPr>
              <a:t>Access to Data</a:t>
            </a:r>
            <a:endParaRPr lang="en-US" sz="1300" b="1" dirty="0">
              <a:solidFill>
                <a:srgbClr val="000000"/>
              </a:solidFill>
              <a:latin typeface="Calibri"/>
            </a:endParaRPr>
          </a:p>
        </p:txBody>
      </p:sp>
      <p:sp>
        <p:nvSpPr>
          <p:cNvPr id="17" name="Oval 16"/>
          <p:cNvSpPr/>
          <p:nvPr/>
        </p:nvSpPr>
        <p:spPr>
          <a:xfrm>
            <a:off x="6160087" y="3195147"/>
            <a:ext cx="1402170" cy="1319689"/>
          </a:xfrm>
          <a:prstGeom prst="ellipse">
            <a:avLst/>
          </a:prstGeom>
          <a:solidFill>
            <a:schemeClr val="bg1">
              <a:lumMod val="95000"/>
            </a:schemeClr>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00" b="1" dirty="0" err="1" smtClean="0">
                <a:solidFill>
                  <a:srgbClr val="000000"/>
                </a:solidFill>
                <a:latin typeface="Calibri"/>
              </a:rPr>
              <a:t>Omics</a:t>
            </a:r>
            <a:r>
              <a:rPr lang="en-US" sz="1300" b="1" dirty="0" smtClean="0">
                <a:solidFill>
                  <a:srgbClr val="000000"/>
                </a:solidFill>
                <a:latin typeface="Calibri"/>
              </a:rPr>
              <a:t> Data from Model Organisms</a:t>
            </a:r>
            <a:endParaRPr lang="en-US" sz="1300" b="1" dirty="0">
              <a:solidFill>
                <a:srgbClr val="000000"/>
              </a:solidFill>
              <a:latin typeface="Calibri"/>
            </a:endParaRPr>
          </a:p>
        </p:txBody>
      </p:sp>
      <p:sp>
        <p:nvSpPr>
          <p:cNvPr id="18" name="Rectangle 17"/>
          <p:cNvSpPr/>
          <p:nvPr/>
        </p:nvSpPr>
        <p:spPr>
          <a:xfrm>
            <a:off x="2116729" y="5475081"/>
            <a:ext cx="5064596" cy="923330"/>
          </a:xfrm>
          <a:prstGeom prst="rect">
            <a:avLst/>
          </a:prstGeom>
        </p:spPr>
        <p:txBody>
          <a:bodyPr wrap="square">
            <a:spAutoFit/>
          </a:bodyPr>
          <a:lstStyle/>
          <a:p>
            <a:pPr algn="ctr">
              <a:defRPr/>
            </a:pPr>
            <a:r>
              <a:rPr lang="en-US" b="1" dirty="0" smtClean="0">
                <a:solidFill>
                  <a:prstClr val="black"/>
                </a:solidFill>
              </a:rPr>
              <a:t>GeneLab </a:t>
            </a:r>
            <a:r>
              <a:rPr lang="en-US" b="1" dirty="0">
                <a:solidFill>
                  <a:prstClr val="black"/>
                </a:solidFill>
              </a:rPr>
              <a:t>provides a continually evolving set of </a:t>
            </a:r>
            <a:r>
              <a:rPr lang="en-US" b="1" dirty="0" err="1">
                <a:solidFill>
                  <a:prstClr val="black"/>
                </a:solidFill>
              </a:rPr>
              <a:t>omics</a:t>
            </a:r>
            <a:r>
              <a:rPr lang="en-US" b="1" dirty="0">
                <a:solidFill>
                  <a:prstClr val="black"/>
                </a:solidFill>
              </a:rPr>
              <a:t> related services </a:t>
            </a:r>
            <a:r>
              <a:rPr lang="en-US" b="1" dirty="0" smtClean="0">
                <a:solidFill>
                  <a:prstClr val="black"/>
                </a:solidFill>
              </a:rPr>
              <a:t>to facilitate the </a:t>
            </a:r>
            <a:r>
              <a:rPr lang="en-US" b="1" dirty="0">
                <a:solidFill>
                  <a:prstClr val="black"/>
                </a:solidFill>
              </a:rPr>
              <a:t>Open Science </a:t>
            </a:r>
            <a:r>
              <a:rPr lang="en-US" b="1" dirty="0" smtClean="0">
                <a:solidFill>
                  <a:prstClr val="black"/>
                </a:solidFill>
              </a:rPr>
              <a:t>ideal</a:t>
            </a:r>
            <a:endParaRPr lang="en-US" b="1" dirty="0">
              <a:solidFill>
                <a:prstClr val="black"/>
              </a:solidFill>
              <a:latin typeface="Calibri"/>
            </a:endParaRPr>
          </a:p>
        </p:txBody>
      </p:sp>
      <p:pic>
        <p:nvPicPr>
          <p:cNvPr id="19" name="Picture 18"/>
          <p:cNvPicPr>
            <a:picLocks noChangeAspect="1"/>
          </p:cNvPicPr>
          <p:nvPr/>
        </p:nvPicPr>
        <p:blipFill>
          <a:blip r:embed="rId3"/>
          <a:stretch>
            <a:fillRect/>
          </a:stretch>
        </p:blipFill>
        <p:spPr>
          <a:xfrm>
            <a:off x="12472" y="0"/>
            <a:ext cx="3523095" cy="644690"/>
          </a:xfrm>
          <a:prstGeom prst="rect">
            <a:avLst/>
          </a:prstGeom>
        </p:spPr>
      </p:pic>
      <p:sp>
        <p:nvSpPr>
          <p:cNvPr id="20" name="TextBox 19"/>
          <p:cNvSpPr txBox="1"/>
          <p:nvPr/>
        </p:nvSpPr>
        <p:spPr>
          <a:xfrm>
            <a:off x="144904" y="985655"/>
            <a:ext cx="4458763" cy="830997"/>
          </a:xfrm>
          <a:prstGeom prst="rect">
            <a:avLst/>
          </a:prstGeom>
          <a:noFill/>
        </p:spPr>
        <p:txBody>
          <a:bodyPr wrap="square" rtlCol="0">
            <a:spAutoFit/>
          </a:bodyPr>
          <a:lstStyle/>
          <a:p>
            <a:pPr algn="ctr"/>
            <a:r>
              <a:rPr lang="en-US" sz="2400" b="1" dirty="0" smtClean="0">
                <a:solidFill>
                  <a:srgbClr val="000000"/>
                </a:solidFill>
                <a:latin typeface="Calibri"/>
              </a:rPr>
              <a:t>GL Data System </a:t>
            </a:r>
          </a:p>
          <a:p>
            <a:pPr algn="ctr"/>
            <a:r>
              <a:rPr lang="en-US" sz="2400" b="1" dirty="0" smtClean="0">
                <a:solidFill>
                  <a:srgbClr val="000000"/>
                </a:solidFill>
                <a:latin typeface="Calibri"/>
              </a:rPr>
              <a:t>Development</a:t>
            </a:r>
            <a:r>
              <a:rPr lang="en-US" sz="2400" b="1" dirty="0">
                <a:solidFill>
                  <a:srgbClr val="000000"/>
                </a:solidFill>
                <a:latin typeface="Calibri"/>
              </a:rPr>
              <a:t> </a:t>
            </a:r>
            <a:r>
              <a:rPr lang="en-US" sz="2400" b="1" dirty="0" smtClean="0">
                <a:solidFill>
                  <a:srgbClr val="000000"/>
                </a:solidFill>
                <a:latin typeface="Calibri"/>
              </a:rPr>
              <a:t>&amp; Operations</a:t>
            </a:r>
            <a:endParaRPr lang="en-US" sz="2400" b="1" dirty="0">
              <a:solidFill>
                <a:srgbClr val="000000"/>
              </a:solidFill>
              <a:latin typeface="Calibri"/>
            </a:endParaRPr>
          </a:p>
        </p:txBody>
      </p:sp>
      <p:sp>
        <p:nvSpPr>
          <p:cNvPr id="21" name="TextBox 20"/>
          <p:cNvSpPr txBox="1"/>
          <p:nvPr/>
        </p:nvSpPr>
        <p:spPr>
          <a:xfrm>
            <a:off x="4765064" y="985655"/>
            <a:ext cx="4071315" cy="830997"/>
          </a:xfrm>
          <a:prstGeom prst="rect">
            <a:avLst/>
          </a:prstGeom>
          <a:noFill/>
        </p:spPr>
        <p:txBody>
          <a:bodyPr wrap="square" rtlCol="0">
            <a:spAutoFit/>
          </a:bodyPr>
          <a:lstStyle/>
          <a:p>
            <a:pPr algn="ctr"/>
            <a:r>
              <a:rPr lang="en-US" sz="2400" b="1" dirty="0" smtClean="0">
                <a:solidFill>
                  <a:srgbClr val="000000"/>
                </a:solidFill>
                <a:latin typeface="Calibri"/>
              </a:rPr>
              <a:t>Flight Research</a:t>
            </a:r>
          </a:p>
          <a:p>
            <a:pPr algn="ctr"/>
            <a:r>
              <a:rPr lang="en-US" sz="2400" b="1" dirty="0" smtClean="0">
                <a:solidFill>
                  <a:srgbClr val="000000"/>
                </a:solidFill>
                <a:latin typeface="Calibri"/>
              </a:rPr>
              <a:t>Operations</a:t>
            </a:r>
            <a:endParaRPr lang="en-US" sz="2400" b="1" dirty="0">
              <a:solidFill>
                <a:srgbClr val="000000"/>
              </a:solidFill>
              <a:latin typeface="Calibri"/>
            </a:endParaRPr>
          </a:p>
        </p:txBody>
      </p:sp>
      <p:sp>
        <p:nvSpPr>
          <p:cNvPr id="22" name="TextBox 7"/>
          <p:cNvSpPr txBox="1">
            <a:spLocks noChangeArrowheads="1"/>
          </p:cNvSpPr>
          <p:nvPr/>
        </p:nvSpPr>
        <p:spPr bwMode="auto">
          <a:xfrm>
            <a:off x="3133671" y="60995"/>
            <a:ext cx="6131289"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2000" b="1">
                <a:solidFill>
                  <a:schemeClr val="tx1"/>
                </a:solidFill>
                <a:latin typeface="Calibri" panose="020F0502020204030204" pitchFamily="34" charset="0"/>
                <a:ea typeface="ヒラギノ角ゴ Pro W3"/>
                <a:cs typeface="Arial" panose="020B0604020202020204" pitchFamily="34" charset="0"/>
              </a:defRPr>
            </a:lvl1pPr>
            <a:lvl2pPr marL="742950" indent="-285750">
              <a:spcBef>
                <a:spcPct val="20000"/>
              </a:spcBef>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2pPr>
            <a:lvl3pPr marL="1143000" indent="-228600">
              <a:spcBef>
                <a:spcPct val="20000"/>
              </a:spcBef>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3pPr>
            <a:lvl4pPr marL="1600200" indent="-228600">
              <a:spcBef>
                <a:spcPct val="20000"/>
              </a:spcBef>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4pPr>
            <a:lvl5pPr marL="2057400" indent="-228600">
              <a:spcBef>
                <a:spcPct val="20000"/>
              </a:spcBef>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a:solidFill>
                  <a:schemeClr val="tx1"/>
                </a:solidFill>
                <a:latin typeface="Calibri" panose="020F0502020204030204" pitchFamily="34" charset="0"/>
                <a:ea typeface="ヒラギノ角ゴ Pro W3"/>
                <a:cs typeface="Arial" panose="020B0604020202020204" pitchFamily="34" charset="0"/>
              </a:defRPr>
            </a:lvl9pPr>
          </a:lstStyle>
          <a:p>
            <a:pPr algn="ctr">
              <a:spcBef>
                <a:spcPct val="0"/>
              </a:spcBef>
              <a:buFontTx/>
              <a:buNone/>
            </a:pPr>
            <a:r>
              <a:rPr lang="en-US" altLang="en-US" sz="2800" dirty="0">
                <a:solidFill>
                  <a:srgbClr val="000000"/>
                </a:solidFill>
              </a:rPr>
              <a:t>GeneLab </a:t>
            </a:r>
            <a:r>
              <a:rPr lang="en-US" altLang="en-US" sz="2800" dirty="0" smtClean="0">
                <a:solidFill>
                  <a:srgbClr val="000000"/>
                </a:solidFill>
              </a:rPr>
              <a:t>Project Structure</a:t>
            </a:r>
            <a:endParaRPr lang="en-US" altLang="en-US" sz="2800" dirty="0">
              <a:solidFill>
                <a:srgbClr val="000000"/>
              </a:solidFill>
            </a:endParaRPr>
          </a:p>
        </p:txBody>
      </p:sp>
      <p:sp>
        <p:nvSpPr>
          <p:cNvPr id="28" name="Date Placeholder 3"/>
          <p:cNvSpPr>
            <a:spLocks noGrp="1"/>
          </p:cNvSpPr>
          <p:nvPr>
            <p:ph type="dt" sz="half" idx="10"/>
          </p:nvPr>
        </p:nvSpPr>
        <p:spPr>
          <a:xfrm>
            <a:off x="487440" y="6433831"/>
            <a:ext cx="2133600" cy="365125"/>
          </a:xfrm>
          <a:prstGeom prst="rect">
            <a:avLst/>
          </a:prstGeom>
        </p:spPr>
        <p:txBody>
          <a:bodyPr anchor="ctr"/>
          <a:lstStyle>
            <a:lvl1pPr>
              <a:defRPr sz="1400" b="1">
                <a:latin typeface="Arial"/>
                <a:cs typeface="Arial"/>
              </a:defRPr>
            </a:lvl1pPr>
          </a:lstStyle>
          <a:p>
            <a:r>
              <a:rPr lang="en-US" smtClean="0">
                <a:solidFill>
                  <a:prstClr val="black"/>
                </a:solidFill>
              </a:rPr>
              <a:t>14 January 2016</a:t>
            </a:r>
            <a:endParaRPr lang="en-US" dirty="0">
              <a:solidFill>
                <a:prstClr val="black"/>
              </a:solidFill>
            </a:endParaRPr>
          </a:p>
        </p:txBody>
      </p:sp>
      <p:sp>
        <p:nvSpPr>
          <p:cNvPr id="29" name="Footer Placeholder 4"/>
          <p:cNvSpPr>
            <a:spLocks noGrp="1"/>
          </p:cNvSpPr>
          <p:nvPr>
            <p:ph type="ftr" sz="quarter" idx="11"/>
          </p:nvPr>
        </p:nvSpPr>
        <p:spPr>
          <a:xfrm>
            <a:off x="2811452" y="6433831"/>
            <a:ext cx="5024720" cy="365125"/>
          </a:xfrm>
        </p:spPr>
        <p:txBody>
          <a:bodyPr/>
          <a:lstStyle>
            <a:lvl1pPr>
              <a:defRPr sz="1400" b="1">
                <a:latin typeface="Arial"/>
                <a:cs typeface="Arial"/>
              </a:defRPr>
            </a:lvl1pPr>
          </a:lstStyle>
          <a:p>
            <a:pPr algn="l"/>
            <a:r>
              <a:rPr lang="en-US" dirty="0">
                <a:solidFill>
                  <a:schemeClr val="tx1"/>
                </a:solidFill>
              </a:rPr>
              <a:t>Collaborative Life Sciences Data </a:t>
            </a:r>
            <a:r>
              <a:rPr lang="en-US" dirty="0" smtClean="0">
                <a:solidFill>
                  <a:schemeClr val="tx1"/>
                </a:solidFill>
              </a:rPr>
              <a:t>TEM </a:t>
            </a:r>
            <a:r>
              <a:rPr lang="en-US" dirty="0" smtClean="0">
                <a:solidFill>
                  <a:srgbClr val="000000"/>
                </a:solidFill>
              </a:rPr>
              <a:t>| Michael Skidmore                      </a:t>
            </a:r>
            <a:endParaRPr lang="en-US" dirty="0">
              <a:solidFill>
                <a:srgbClr val="000000"/>
              </a:solidFill>
            </a:endParaRPr>
          </a:p>
        </p:txBody>
      </p:sp>
      <p:sp>
        <p:nvSpPr>
          <p:cNvPr id="30" name="Slide Number Placeholder 1"/>
          <p:cNvSpPr>
            <a:spLocks noGrp="1"/>
          </p:cNvSpPr>
          <p:nvPr>
            <p:ph type="sldNum" sz="quarter" idx="12"/>
          </p:nvPr>
        </p:nvSpPr>
        <p:spPr>
          <a:xfrm>
            <a:off x="7786154" y="6433831"/>
            <a:ext cx="1085865" cy="365125"/>
          </a:xfrm>
        </p:spPr>
        <p:txBody>
          <a:bodyPr/>
          <a:lstStyle/>
          <a:p>
            <a:fld id="{ACB3FC3A-BC2E-574C-8636-F1DF04588B6F}" type="slidenum">
              <a:rPr lang="en-US" sz="1400" b="1" smtClean="0">
                <a:solidFill>
                  <a:srgbClr val="000000"/>
                </a:solidFill>
                <a:latin typeface="Arial"/>
                <a:cs typeface="Arial"/>
              </a:rPr>
              <a:pPr/>
              <a:t>9</a:t>
            </a:fld>
            <a:endParaRPr lang="en-US" sz="1400" b="1" dirty="0">
              <a:solidFill>
                <a:srgbClr val="000000"/>
              </a:solidFill>
              <a:latin typeface="Arial"/>
              <a:cs typeface="Arial"/>
            </a:endParaRPr>
          </a:p>
        </p:txBody>
      </p:sp>
    </p:spTree>
    <p:extLst>
      <p:ext uri="{BB962C8B-B14F-4D97-AF65-F5344CB8AC3E}">
        <p14:creationId xmlns:p14="http://schemas.microsoft.com/office/powerpoint/2010/main" val="148503026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S5McCUnW0ibgR9iAo1R.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68hZWVtH02GFI0WU6Fbu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fnjMqWLSk6AJAPBV2QlG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xxRvfr0FkeN_v3F5Gne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xxRvfr0FkeN_v3F5Gne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xxRvfr0FkeN_v3F5Gne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xxRvfr0FkeN_v3F5Gne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xxRvfr0FkeN_v3F5GneX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xxRvfr0FkeN_v3F5Gne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xxRvfr0FkeN_v3F5Gne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aKThacPGkCAp57TTdwHDw"/>
</p:tagLst>
</file>

<file path=ppt/theme/theme1.xml><?xml version="1.0" encoding="utf-8"?>
<a:theme xmlns:a="http://schemas.openxmlformats.org/drawingml/2006/main" name="GeneLab-title slide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dirty="0"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236</TotalTime>
  <Words>2366</Words>
  <Application>Microsoft Office PowerPoint</Application>
  <PresentationFormat>On-screen Show (4:3)</PresentationFormat>
  <Paragraphs>531</Paragraphs>
  <Slides>19</Slides>
  <Notes>14</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9</vt:i4>
      </vt:variant>
    </vt:vector>
  </HeadingPairs>
  <TitlesOfParts>
    <vt:vector size="29" baseType="lpstr">
      <vt:lpstr>ＭＳ Ｐゴシック</vt:lpstr>
      <vt:lpstr>Arial</vt:lpstr>
      <vt:lpstr>Arial Black</vt:lpstr>
      <vt:lpstr>Calibri</vt:lpstr>
      <vt:lpstr>Wingdings</vt:lpstr>
      <vt:lpstr>ヒラギノ角ゴ Pro W3</vt:lpstr>
      <vt:lpstr>GeneLab-title slide1</vt:lpstr>
      <vt:lpstr>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Generation</vt:lpstr>
    </vt:vector>
  </TitlesOfParts>
  <Company>LM ES&amp;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ioneering in Space</dc:title>
  <dc:creator>NASA ODIN</dc:creator>
  <cp:lastModifiedBy>Stotzky, Olga G. (ARC-PX)</cp:lastModifiedBy>
  <cp:revision>40</cp:revision>
  <cp:lastPrinted>2016-01-13T23:48:52Z</cp:lastPrinted>
  <dcterms:created xsi:type="dcterms:W3CDTF">2015-10-07T17:14:07Z</dcterms:created>
  <dcterms:modified xsi:type="dcterms:W3CDTF">2016-01-14T17:41:47Z</dcterms:modified>
</cp:coreProperties>
</file>